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91" r:id="rId4"/>
  </p:sldMasterIdLst>
  <p:notesMasterIdLst>
    <p:notesMasterId r:id="rId16"/>
  </p:notesMasterIdLst>
  <p:sldIdLst>
    <p:sldId id="271" r:id="rId5"/>
    <p:sldId id="276" r:id="rId6"/>
    <p:sldId id="275" r:id="rId7"/>
    <p:sldId id="270" r:id="rId8"/>
    <p:sldId id="269" r:id="rId9"/>
    <p:sldId id="274" r:id="rId10"/>
    <p:sldId id="266" r:id="rId11"/>
    <p:sldId id="267" r:id="rId12"/>
    <p:sldId id="272" r:id="rId13"/>
    <p:sldId id="273" r:id="rId14"/>
    <p:sldId id="268" r:id="rId15"/>
  </p:sldIdLst>
  <p:sldSz cx="9906000" cy="6858000" type="A4"/>
  <p:notesSz cx="6858000" cy="9144000"/>
  <p:defaultTextStyle>
    <a:defPPr marL="0" marR="0" indent="0" algn="l" defTabSz="1072647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12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281403" marR="0" indent="-281403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1pPr>
    <a:lvl2pPr marL="528874" marR="0" indent="-212293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2pPr>
    <a:lvl3pPr marL="838626" marR="0" indent="-203603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3pPr>
    <a:lvl4pPr marL="1152721" marR="0" indent="-212293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4pPr>
    <a:lvl5pPr marL="1469922" marR="0" indent="-211052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5pPr>
    <a:lvl6pPr marL="2919982" marR="0" indent="-238365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6pPr>
    <a:lvl7pPr marL="3456305" marR="0" indent="-238365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7pPr>
    <a:lvl8pPr marL="3992627" marR="0" indent="-238365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8pPr>
    <a:lvl9pPr marL="4528950" marR="0" indent="-238365" algn="l" defTabSz="536322" rtl="0" fontAlgn="auto" latinLnBrk="0" hangingPunct="0">
      <a:lnSpc>
        <a:spcPct val="100000"/>
      </a:lnSpc>
      <a:spcBef>
        <a:spcPts val="1056"/>
      </a:spcBef>
      <a:spcAft>
        <a:spcPts val="0"/>
      </a:spcAft>
      <a:buClrTx/>
      <a:buSzPct val="100000"/>
      <a:buFont typeface="Arial"/>
      <a:buChar char="•"/>
      <a:tabLst/>
      <a:defRPr kumimoji="0" sz="187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Open Sans Regular"/>
        <a:ea typeface="Open Sans Regular"/>
        <a:cs typeface="Open Sans Regular"/>
        <a:sym typeface="Open Sans Regular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EDC970"/>
    <a:srgbClr val="BDEABB"/>
    <a:srgbClr val="E9FEE8"/>
    <a:srgbClr val="E7FBE5"/>
    <a:srgbClr val="E0F5DF"/>
    <a:srgbClr val="FFFFFF"/>
    <a:srgbClr val="DCD0DC"/>
    <a:srgbClr val="76D6FF"/>
    <a:srgbClr val="FAF0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2E92A0-135F-824E-8FBC-2A7B459B498C}" v="4" dt="2026-05-31T20:01:22.684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97"/>
    <p:restoredTop sz="97097"/>
  </p:normalViewPr>
  <p:slideViewPr>
    <p:cSldViewPr snapToGrid="0">
      <p:cViewPr>
        <p:scale>
          <a:sx n="210" d="100"/>
          <a:sy n="210" d="100"/>
        </p:scale>
        <p:origin x="736" y="-4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ben Logjes" userId="428c9e9b-daf1-41a0-99e0-dd89c07bd85a" providerId="ADAL" clId="{25E3B3CF-CED6-5883-ABED-EA70ABCD04CF}"/>
    <pc:docChg chg="undo custSel modSld">
      <pc:chgData name="Ruben Logjes" userId="428c9e9b-daf1-41a0-99e0-dd89c07bd85a" providerId="ADAL" clId="{25E3B3CF-CED6-5883-ABED-EA70ABCD04CF}" dt="2026-06-01T15:11:24.353" v="496" actId="1076"/>
      <pc:docMkLst>
        <pc:docMk/>
      </pc:docMkLst>
      <pc:sldChg chg="addSp delSp modSp mod">
        <pc:chgData name="Ruben Logjes" userId="428c9e9b-daf1-41a0-99e0-dd89c07bd85a" providerId="ADAL" clId="{25E3B3CF-CED6-5883-ABED-EA70ABCD04CF}" dt="2026-06-01T15:11:24.353" v="496" actId="1076"/>
        <pc:sldMkLst>
          <pc:docMk/>
          <pc:sldMk cId="2750502805" sldId="271"/>
        </pc:sldMkLst>
        <pc:spChg chg="mod">
          <ac:chgData name="Ruben Logjes" userId="428c9e9b-daf1-41a0-99e0-dd89c07bd85a" providerId="ADAL" clId="{25E3B3CF-CED6-5883-ABED-EA70ABCD04CF}" dt="2026-05-13T15:41:33.100" v="458" actId="1076"/>
          <ac:spMkLst>
            <pc:docMk/>
            <pc:sldMk cId="2750502805" sldId="271"/>
            <ac:spMk id="5" creationId="{02B0792E-EDC5-706D-BFEC-5859489B1BE7}"/>
          </ac:spMkLst>
        </pc:spChg>
        <pc:spChg chg="mod">
          <ac:chgData name="Ruben Logjes" userId="428c9e9b-daf1-41a0-99e0-dd89c07bd85a" providerId="ADAL" clId="{25E3B3CF-CED6-5883-ABED-EA70ABCD04CF}" dt="2026-05-13T15:38:59.382" v="454" actId="20577"/>
          <ac:spMkLst>
            <pc:docMk/>
            <pc:sldMk cId="2750502805" sldId="271"/>
            <ac:spMk id="9" creationId="{E2B7946E-D9B2-9186-D4A6-71AECF1BB9DB}"/>
          </ac:spMkLst>
        </pc:spChg>
        <pc:spChg chg="del mod">
          <ac:chgData name="Ruben Logjes" userId="428c9e9b-daf1-41a0-99e0-dd89c07bd85a" providerId="ADAL" clId="{25E3B3CF-CED6-5883-ABED-EA70ABCD04CF}" dt="2026-06-01T15:11:07.826" v="494" actId="478"/>
          <ac:spMkLst>
            <pc:docMk/>
            <pc:sldMk cId="2750502805" sldId="271"/>
            <ac:spMk id="11" creationId="{A60E5975-F8F6-5180-444E-26A7B214E6D0}"/>
          </ac:spMkLst>
        </pc:spChg>
        <pc:spChg chg="mod">
          <ac:chgData name="Ruben Logjes" userId="428c9e9b-daf1-41a0-99e0-dd89c07bd85a" providerId="ADAL" clId="{25E3B3CF-CED6-5883-ABED-EA70ABCD04CF}" dt="2026-05-13T15:30:27.135" v="362" actId="1076"/>
          <ac:spMkLst>
            <pc:docMk/>
            <pc:sldMk cId="2750502805" sldId="271"/>
            <ac:spMk id="17" creationId="{08868323-85C7-8557-A65D-D1B695EE49E1}"/>
          </ac:spMkLst>
        </pc:spChg>
        <pc:spChg chg="mod">
          <ac:chgData name="Ruben Logjes" userId="428c9e9b-daf1-41a0-99e0-dd89c07bd85a" providerId="ADAL" clId="{25E3B3CF-CED6-5883-ABED-EA70ABCD04CF}" dt="2026-05-13T15:30:27.135" v="362" actId="1076"/>
          <ac:spMkLst>
            <pc:docMk/>
            <pc:sldMk cId="2750502805" sldId="271"/>
            <ac:spMk id="18" creationId="{567B06FB-8770-370F-5369-A8228D0B537E}"/>
          </ac:spMkLst>
        </pc:spChg>
        <pc:spChg chg="mod">
          <ac:chgData name="Ruben Logjes" userId="428c9e9b-daf1-41a0-99e0-dd89c07bd85a" providerId="ADAL" clId="{25E3B3CF-CED6-5883-ABED-EA70ABCD04CF}" dt="2026-05-13T15:30:27.135" v="362" actId="1076"/>
          <ac:spMkLst>
            <pc:docMk/>
            <pc:sldMk cId="2750502805" sldId="271"/>
            <ac:spMk id="19" creationId="{B7EF3BA7-D5EF-0CD0-5534-E843E7D301A1}"/>
          </ac:spMkLst>
        </pc:spChg>
        <pc:spChg chg="mod">
          <ac:chgData name="Ruben Logjes" userId="428c9e9b-daf1-41a0-99e0-dd89c07bd85a" providerId="ADAL" clId="{25E3B3CF-CED6-5883-ABED-EA70ABCD04CF}" dt="2026-05-13T15:30:27.135" v="362" actId="1076"/>
          <ac:spMkLst>
            <pc:docMk/>
            <pc:sldMk cId="2750502805" sldId="271"/>
            <ac:spMk id="20" creationId="{36AE7FA2-7AB6-EA9A-AC81-6938BED7756B}"/>
          </ac:spMkLst>
        </pc:spChg>
        <pc:spChg chg="mod">
          <ac:chgData name="Ruben Logjes" userId="428c9e9b-daf1-41a0-99e0-dd89c07bd85a" providerId="ADAL" clId="{25E3B3CF-CED6-5883-ABED-EA70ABCD04CF}" dt="2026-05-13T15:30:27.135" v="362" actId="1076"/>
          <ac:spMkLst>
            <pc:docMk/>
            <pc:sldMk cId="2750502805" sldId="271"/>
            <ac:spMk id="21" creationId="{3F66211A-B498-65DB-2BB2-843C34E90C9C}"/>
          </ac:spMkLst>
        </pc:spChg>
        <pc:spChg chg="mod">
          <ac:chgData name="Ruben Logjes" userId="428c9e9b-daf1-41a0-99e0-dd89c07bd85a" providerId="ADAL" clId="{25E3B3CF-CED6-5883-ABED-EA70ABCD04CF}" dt="2026-05-13T15:30:27.135" v="362" actId="1076"/>
          <ac:spMkLst>
            <pc:docMk/>
            <pc:sldMk cId="2750502805" sldId="271"/>
            <ac:spMk id="37" creationId="{541EF542-E9D2-7FF9-486F-EF8626047ECB}"/>
          </ac:spMkLst>
        </pc:spChg>
        <pc:spChg chg="mod">
          <ac:chgData name="Ruben Logjes" userId="428c9e9b-daf1-41a0-99e0-dd89c07bd85a" providerId="ADAL" clId="{25E3B3CF-CED6-5883-ABED-EA70ABCD04CF}" dt="2026-05-13T15:30:27.135" v="362" actId="1076"/>
          <ac:spMkLst>
            <pc:docMk/>
            <pc:sldMk cId="2750502805" sldId="271"/>
            <ac:spMk id="38" creationId="{C653C083-BDAE-C131-F0C7-F4F7B7C76FC1}"/>
          </ac:spMkLst>
        </pc:spChg>
        <pc:spChg chg="mod">
          <ac:chgData name="Ruben Logjes" userId="428c9e9b-daf1-41a0-99e0-dd89c07bd85a" providerId="ADAL" clId="{25E3B3CF-CED6-5883-ABED-EA70ABCD04CF}" dt="2026-05-13T15:30:27.135" v="362" actId="1076"/>
          <ac:spMkLst>
            <pc:docMk/>
            <pc:sldMk cId="2750502805" sldId="271"/>
            <ac:spMk id="40" creationId="{3C82789B-C614-CC9A-ABDB-ED7ACE423808}"/>
          </ac:spMkLst>
        </pc:spChg>
        <pc:spChg chg="mod">
          <ac:chgData name="Ruben Logjes" userId="428c9e9b-daf1-41a0-99e0-dd89c07bd85a" providerId="ADAL" clId="{25E3B3CF-CED6-5883-ABED-EA70ABCD04CF}" dt="2026-05-13T15:41:01.207" v="457" actId="20577"/>
          <ac:spMkLst>
            <pc:docMk/>
            <pc:sldMk cId="2750502805" sldId="271"/>
            <ac:spMk id="49" creationId="{77CA63F3-971C-F8AC-C1DC-47FB2CA7AD2A}"/>
          </ac:spMkLst>
        </pc:spChg>
        <pc:spChg chg="add del mod">
          <ac:chgData name="Ruben Logjes" userId="428c9e9b-daf1-41a0-99e0-dd89c07bd85a" providerId="ADAL" clId="{25E3B3CF-CED6-5883-ABED-EA70ABCD04CF}" dt="2026-05-31T20:01:40.826" v="492" actId="1076"/>
          <ac:spMkLst>
            <pc:docMk/>
            <pc:sldMk cId="2750502805" sldId="271"/>
            <ac:spMk id="52" creationId="{DE86DEDA-B591-129F-01B0-2F536E1E92E2}"/>
          </ac:spMkLst>
        </pc:spChg>
        <pc:spChg chg="mod">
          <ac:chgData name="Ruben Logjes" userId="428c9e9b-daf1-41a0-99e0-dd89c07bd85a" providerId="ADAL" clId="{25E3B3CF-CED6-5883-ABED-EA70ABCD04CF}" dt="2026-05-13T15:24:09.972" v="215" actId="20577"/>
          <ac:spMkLst>
            <pc:docMk/>
            <pc:sldMk cId="2750502805" sldId="271"/>
            <ac:spMk id="84" creationId="{F100DC6D-6249-22CF-44A7-F61E0435868E}"/>
          </ac:spMkLst>
        </pc:spChg>
        <pc:picChg chg="mod">
          <ac:chgData name="Ruben Logjes" userId="428c9e9b-daf1-41a0-99e0-dd89c07bd85a" providerId="ADAL" clId="{25E3B3CF-CED6-5883-ABED-EA70ABCD04CF}" dt="2026-06-01T15:11:24.353" v="496" actId="1076"/>
          <ac:picMkLst>
            <pc:docMk/>
            <pc:sldMk cId="2750502805" sldId="271"/>
            <ac:picMk id="4" creationId="{8EC6C44A-EB8D-4B10-FAE9-53EB7BB64711}"/>
          </ac:picMkLst>
        </pc:picChg>
        <pc:picChg chg="mod">
          <ac:chgData name="Ruben Logjes" userId="428c9e9b-daf1-41a0-99e0-dd89c07bd85a" providerId="ADAL" clId="{25E3B3CF-CED6-5883-ABED-EA70ABCD04CF}" dt="2026-05-13T15:38:24.445" v="453" actId="12789"/>
          <ac:picMkLst>
            <pc:docMk/>
            <pc:sldMk cId="2750502805" sldId="271"/>
            <ac:picMk id="1026" creationId="{10F74105-FC9B-D645-3DA8-3765D93F85D9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Shape 1832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33" name="Shape 1833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536322" latinLnBrk="0">
      <a:defRPr sz="1408" b="0" i="0"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Calibri"/>
      </a:defRPr>
    </a:lvl1pPr>
    <a:lvl2pPr indent="268161" defTabSz="536322" latinLnBrk="0">
      <a:defRPr sz="1408">
        <a:latin typeface="+mn-lt"/>
        <a:ea typeface="+mn-ea"/>
        <a:cs typeface="+mn-cs"/>
        <a:sym typeface="Calibri"/>
      </a:defRPr>
    </a:lvl2pPr>
    <a:lvl3pPr indent="536322" defTabSz="536322" latinLnBrk="0">
      <a:defRPr sz="1408">
        <a:latin typeface="+mn-lt"/>
        <a:ea typeface="+mn-ea"/>
        <a:cs typeface="+mn-cs"/>
        <a:sym typeface="Calibri"/>
      </a:defRPr>
    </a:lvl3pPr>
    <a:lvl4pPr indent="804485" defTabSz="536322" latinLnBrk="0">
      <a:defRPr sz="1408">
        <a:latin typeface="+mn-lt"/>
        <a:ea typeface="+mn-ea"/>
        <a:cs typeface="+mn-cs"/>
        <a:sym typeface="Calibri"/>
      </a:defRPr>
    </a:lvl4pPr>
    <a:lvl5pPr indent="1072647" defTabSz="536322" latinLnBrk="0">
      <a:defRPr sz="1408">
        <a:latin typeface="+mn-lt"/>
        <a:ea typeface="+mn-ea"/>
        <a:cs typeface="+mn-cs"/>
        <a:sym typeface="Calibri"/>
      </a:defRPr>
    </a:lvl5pPr>
    <a:lvl6pPr indent="1340807" defTabSz="536322" latinLnBrk="0">
      <a:defRPr sz="1408">
        <a:latin typeface="+mn-lt"/>
        <a:ea typeface="+mn-ea"/>
        <a:cs typeface="+mn-cs"/>
        <a:sym typeface="Calibri"/>
      </a:defRPr>
    </a:lvl6pPr>
    <a:lvl7pPr indent="1608969" defTabSz="536322" latinLnBrk="0">
      <a:defRPr sz="1408">
        <a:latin typeface="+mn-lt"/>
        <a:ea typeface="+mn-ea"/>
        <a:cs typeface="+mn-cs"/>
        <a:sym typeface="Calibri"/>
      </a:defRPr>
    </a:lvl7pPr>
    <a:lvl8pPr indent="1877130" defTabSz="536322" latinLnBrk="0">
      <a:defRPr sz="1408">
        <a:latin typeface="+mn-lt"/>
        <a:ea typeface="+mn-ea"/>
        <a:cs typeface="+mn-cs"/>
        <a:sym typeface="Calibri"/>
      </a:defRPr>
    </a:lvl8pPr>
    <a:lvl9pPr indent="2145292" defTabSz="536322" latinLnBrk="0">
      <a:defRPr sz="1408">
        <a:latin typeface="+mn-lt"/>
        <a:ea typeface="+mn-ea"/>
        <a:cs typeface="+mn-cs"/>
        <a:sym typeface="Calibri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10" Type="http://schemas.openxmlformats.org/officeDocument/2006/relationships/image" Target="../media/image9.emf"/><Relationship Id="rId4" Type="http://schemas.openxmlformats.org/officeDocument/2006/relationships/image" Target="../media/image1.emf"/><Relationship Id="rId9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10" Type="http://schemas.openxmlformats.org/officeDocument/2006/relationships/image" Target="../media/image9.emf"/><Relationship Id="rId4" Type="http://schemas.openxmlformats.org/officeDocument/2006/relationships/image" Target="../media/image1.emf"/><Relationship Id="rId9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10" Type="http://schemas.openxmlformats.org/officeDocument/2006/relationships/image" Target="../media/image9.emf"/><Relationship Id="rId4" Type="http://schemas.openxmlformats.org/officeDocument/2006/relationships/image" Target="../media/image1.emf"/><Relationship Id="rId9" Type="http://schemas.openxmlformats.org/officeDocument/2006/relationships/image" Target="../media/image8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gif"/><Relationship Id="rId10" Type="http://schemas.openxmlformats.org/officeDocument/2006/relationships/image" Target="../media/image15.pn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9.emf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9.emf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9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9.emf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0.sv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gif"/><Relationship Id="rId4" Type="http://schemas.openxmlformats.org/officeDocument/2006/relationships/image" Target="../media/image2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png"/><Relationship Id="rId5" Type="http://schemas.openxmlformats.org/officeDocument/2006/relationships/image" Target="../media/image24.gif"/><Relationship Id="rId4" Type="http://schemas.openxmlformats.org/officeDocument/2006/relationships/image" Target="../media/image2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CE63CF4-2C85-4FD2-9353-809500FB9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CE63CF4-2C85-4FD2-9353-809500FB9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Driehoek">
            <a:extLst>
              <a:ext uri="{FF2B5EF4-FFF2-40B4-BE49-F238E27FC236}">
                <a16:creationId xmlns:a16="http://schemas.microsoft.com/office/drawing/2014/main" id="{CD625EEB-DF82-42F3-B762-0CEFDC1AB415}"/>
              </a:ext>
            </a:extLst>
          </p:cNvPr>
          <p:cNvSpPr/>
          <p:nvPr userDrawn="1"/>
        </p:nvSpPr>
        <p:spPr>
          <a:xfrm rot="5400000">
            <a:off x="-385204" y="3801089"/>
            <a:ext cx="2567953" cy="18012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chemeClr val="accent5">
                    <a:hueOff val="-14400000"/>
                    <a:satOff val="-100000"/>
                    <a:lumOff val="98235"/>
                  </a:schemeClr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43" name="Driehoek">
            <a:extLst>
              <a:ext uri="{FF2B5EF4-FFF2-40B4-BE49-F238E27FC236}">
                <a16:creationId xmlns:a16="http://schemas.microsoft.com/office/drawing/2014/main" id="{8A510ABB-F858-46EB-BF5D-394AA90DFEB3}"/>
              </a:ext>
            </a:extLst>
          </p:cNvPr>
          <p:cNvSpPr/>
          <p:nvPr userDrawn="1"/>
        </p:nvSpPr>
        <p:spPr>
          <a:xfrm rot="16200000">
            <a:off x="347674" y="1611947"/>
            <a:ext cx="640845" cy="4495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5">
              <a:hueOff val="-14400000"/>
              <a:satOff val="-100000"/>
              <a:lumOff val="98235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chemeClr val="accent5">
                    <a:hueOff val="-14400000"/>
                    <a:satOff val="-100000"/>
                    <a:lumOff val="98235"/>
                  </a:schemeClr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44" name="Driehoek">
            <a:extLst>
              <a:ext uri="{FF2B5EF4-FFF2-40B4-BE49-F238E27FC236}">
                <a16:creationId xmlns:a16="http://schemas.microsoft.com/office/drawing/2014/main" id="{9A24E7A4-774E-4341-979D-C38289449243}"/>
              </a:ext>
            </a:extLst>
          </p:cNvPr>
          <p:cNvSpPr/>
          <p:nvPr userDrawn="1"/>
        </p:nvSpPr>
        <p:spPr>
          <a:xfrm rot="5400000">
            <a:off x="706226" y="2343735"/>
            <a:ext cx="1276301" cy="895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chemeClr val="accent5">
                    <a:hueOff val="-14400000"/>
                    <a:satOff val="-100000"/>
                    <a:lumOff val="98235"/>
                  </a:schemeClr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45" name="creating tomorrow.png" descr="creating tomorrow.png">
            <a:extLst>
              <a:ext uri="{FF2B5EF4-FFF2-40B4-BE49-F238E27FC236}">
                <a16:creationId xmlns:a16="http://schemas.microsoft.com/office/drawing/2014/main" id="{F48930C4-7A28-44BC-90A9-C1ABBD792D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2892" b="10803"/>
          <a:stretch/>
        </p:blipFill>
        <p:spPr>
          <a:xfrm>
            <a:off x="7640660" y="5929216"/>
            <a:ext cx="2265341" cy="928784"/>
          </a:xfrm>
          <a:prstGeom prst="rect">
            <a:avLst/>
          </a:prstGeom>
          <a:ln w="12700">
            <a:miter lim="400000"/>
          </a:ln>
        </p:spPr>
      </p:pic>
      <p:pic>
        <p:nvPicPr>
          <p:cNvPr id="46" name="HvA-Communication_and_Multimedia_Design-zwart-RGB.png" descr="HvA-Communication_and_Multimedia_Design-zwart-RGB.png">
            <a:extLst>
              <a:ext uri="{FF2B5EF4-FFF2-40B4-BE49-F238E27FC236}">
                <a16:creationId xmlns:a16="http://schemas.microsoft.com/office/drawing/2014/main" id="{B7086B02-6D7F-4286-AE4C-33B206EC3C7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81515" y="-5"/>
            <a:ext cx="4130377" cy="85294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A6DDEA0-D18E-46B9-8D92-FE0431B646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5180" y="3909298"/>
            <a:ext cx="1093867" cy="789411"/>
          </a:xfrm>
          <a:ln w="25400">
            <a:solidFill>
              <a:schemeClr val="tx1"/>
            </a:solidFill>
          </a:ln>
        </p:spPr>
        <p:txBody>
          <a:bodyPr wrap="none" lIns="90000" tIns="216000" rIns="90000" bIns="72000" anchor="b">
            <a:sp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l-NL"/>
              <a:t>Titel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775E5A6-24A4-4613-AD23-DBB8AE8980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05180" y="4699409"/>
            <a:ext cx="2376269" cy="685303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 wrap="none" lIns="90000" tIns="108000" rIns="90000">
            <a:spAutoFit/>
          </a:bodyPr>
          <a:lstStyle>
            <a:lvl1pPr marL="0" indent="0" algn="l">
              <a:lnSpc>
                <a:spcPct val="110000"/>
              </a:lnSpc>
              <a:buNone/>
              <a:defRPr sz="3600">
                <a:solidFill>
                  <a:schemeClr val="accent1"/>
                </a:solidFill>
              </a:defRPr>
            </a:lvl1pPr>
            <a:lvl2pPr marL="342913" indent="0" algn="ctr">
              <a:buNone/>
              <a:defRPr sz="1500"/>
            </a:lvl2pPr>
            <a:lvl3pPr marL="685825" indent="0" algn="ctr">
              <a:buNone/>
              <a:defRPr sz="1350"/>
            </a:lvl3pPr>
            <a:lvl4pPr marL="1028738" indent="0" algn="ctr">
              <a:buNone/>
              <a:defRPr sz="1200"/>
            </a:lvl4pPr>
            <a:lvl5pPr marL="1371651" indent="0" algn="ctr">
              <a:buNone/>
              <a:defRPr sz="1200"/>
            </a:lvl5pPr>
            <a:lvl6pPr marL="1714563" indent="0" algn="ctr">
              <a:buNone/>
              <a:defRPr sz="1200"/>
            </a:lvl6pPr>
            <a:lvl7pPr marL="2057476" indent="0" algn="ctr">
              <a:buNone/>
              <a:defRPr sz="1200"/>
            </a:lvl7pPr>
            <a:lvl8pPr marL="2400388" indent="0" algn="ctr">
              <a:buNone/>
              <a:defRPr sz="1200"/>
            </a:lvl8pPr>
            <a:lvl9pPr marL="2743301" indent="0" algn="ctr">
              <a:buNone/>
              <a:defRPr sz="1200"/>
            </a:lvl9pPr>
          </a:lstStyle>
          <a:p>
            <a:r>
              <a:rPr lang="nl-NL"/>
              <a:t>Ondertitel</a:t>
            </a: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3B780D97-1EAE-49A4-B8E6-FC72355625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5181" y="5890474"/>
            <a:ext cx="2522027" cy="27699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nl-NL"/>
              <a:t>Vul datum in</a:t>
            </a:r>
          </a:p>
        </p:txBody>
      </p:sp>
    </p:spTree>
    <p:extLst>
      <p:ext uri="{BB962C8B-B14F-4D97-AF65-F5344CB8AC3E}">
        <p14:creationId xmlns:p14="http://schemas.microsoft.com/office/powerpoint/2010/main" val="511757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ekst (papaya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6">
            <a:extLst>
              <a:ext uri="{FF2B5EF4-FFF2-40B4-BE49-F238E27FC236}">
                <a16:creationId xmlns:a16="http://schemas.microsoft.com/office/drawing/2014/main" id="{4EE72FFE-2ACD-44B1-85E0-F83A17BBA6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79178" y="623316"/>
            <a:ext cx="7547649" cy="5593080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790364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Vrije vorm: vorm 29">
            <a:extLst>
              <a:ext uri="{FF2B5EF4-FFF2-40B4-BE49-F238E27FC236}">
                <a16:creationId xmlns:a16="http://schemas.microsoft.com/office/drawing/2014/main" id="{D66DEA45-9483-4C0C-AB4E-EA9046E8AFBB}"/>
              </a:ext>
            </a:extLst>
          </p:cNvPr>
          <p:cNvSpPr/>
          <p:nvPr userDrawn="1"/>
        </p:nvSpPr>
        <p:spPr>
          <a:xfrm flipH="1" flipV="1">
            <a:off x="1102408" y="5932381"/>
            <a:ext cx="312497" cy="384811"/>
          </a:xfrm>
          <a:custGeom>
            <a:avLst/>
            <a:gdLst>
              <a:gd name="connsiteX0" fmla="*/ 6853269 w 6853374"/>
              <a:gd name="connsiteY0" fmla="*/ 3450117 h 6856926"/>
              <a:gd name="connsiteX1" fmla="*/ 6853106 w 6853374"/>
              <a:gd name="connsiteY1" fmla="*/ 6582612 h 6856926"/>
              <a:gd name="connsiteX2" fmla="*/ 6582577 w 6853374"/>
              <a:gd name="connsiteY2" fmla="*/ 6856583 h 6856926"/>
              <a:gd name="connsiteX3" fmla="*/ 4673453 w 6853374"/>
              <a:gd name="connsiteY3" fmla="*/ 6856606 h 6856926"/>
              <a:gd name="connsiteX4" fmla="*/ 4395900 w 6853374"/>
              <a:gd name="connsiteY4" fmla="*/ 6569729 h 6856926"/>
              <a:gd name="connsiteX5" fmla="*/ 4395598 w 6853374"/>
              <a:gd name="connsiteY5" fmla="*/ 2768713 h 6856926"/>
              <a:gd name="connsiteX6" fmla="*/ 4082046 w 6853374"/>
              <a:gd name="connsiteY6" fmla="*/ 2455045 h 6856926"/>
              <a:gd name="connsiteX7" fmla="*/ 263798 w 6853374"/>
              <a:gd name="connsiteY7" fmla="*/ 2454882 h 6856926"/>
              <a:gd name="connsiteX8" fmla="*/ 2733 w 6853374"/>
              <a:gd name="connsiteY8" fmla="*/ 2194748 h 6856926"/>
              <a:gd name="connsiteX9" fmla="*/ 36 w 6853374"/>
              <a:gd name="connsiteY9" fmla="*/ 246508 h 6856926"/>
              <a:gd name="connsiteX10" fmla="*/ 245217 w 6853374"/>
              <a:gd name="connsiteY10" fmla="*/ 2 h 6856926"/>
              <a:gd name="connsiteX11" fmla="*/ 6602599 w 6853374"/>
              <a:gd name="connsiteY11" fmla="*/ 3071 h 6856926"/>
              <a:gd name="connsiteX12" fmla="*/ 6852990 w 6853374"/>
              <a:gd name="connsiteY12" fmla="*/ 260322 h 6856926"/>
              <a:gd name="connsiteX13" fmla="*/ 6853269 w 6853374"/>
              <a:gd name="connsiteY13" fmla="*/ 3450117 h 685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853374" h="6856926">
                <a:moveTo>
                  <a:pt x="6853269" y="3450117"/>
                </a:moveTo>
                <a:cubicBezTo>
                  <a:pt x="6853269" y="4494282"/>
                  <a:pt x="6853501" y="5538447"/>
                  <a:pt x="6853106" y="6582612"/>
                </a:cubicBezTo>
                <a:cubicBezTo>
                  <a:pt x="6853013" y="6838514"/>
                  <a:pt x="6835222" y="6856397"/>
                  <a:pt x="6582577" y="6856583"/>
                </a:cubicBezTo>
                <a:cubicBezTo>
                  <a:pt x="5946194" y="6857049"/>
                  <a:pt x="5309835" y="6857025"/>
                  <a:pt x="4673453" y="6856606"/>
                </a:cubicBezTo>
                <a:cubicBezTo>
                  <a:pt x="4414202" y="6856421"/>
                  <a:pt x="4395993" y="6838072"/>
                  <a:pt x="4395900" y="6569729"/>
                </a:cubicBezTo>
                <a:cubicBezTo>
                  <a:pt x="4395458" y="5302731"/>
                  <a:pt x="4395807" y="4035710"/>
                  <a:pt x="4395598" y="2768713"/>
                </a:cubicBezTo>
                <a:cubicBezTo>
                  <a:pt x="4395551" y="2473254"/>
                  <a:pt x="4377180" y="2455068"/>
                  <a:pt x="4082046" y="2455045"/>
                </a:cubicBezTo>
                <a:cubicBezTo>
                  <a:pt x="2809304" y="2454928"/>
                  <a:pt x="1536539" y="2455114"/>
                  <a:pt x="263798" y="2454882"/>
                </a:cubicBezTo>
                <a:cubicBezTo>
                  <a:pt x="20384" y="2454812"/>
                  <a:pt x="3036" y="2438208"/>
                  <a:pt x="2733" y="2194748"/>
                </a:cubicBezTo>
                <a:cubicBezTo>
                  <a:pt x="1989" y="1545319"/>
                  <a:pt x="6361" y="895867"/>
                  <a:pt x="36" y="246508"/>
                </a:cubicBezTo>
                <a:cubicBezTo>
                  <a:pt x="-1732" y="66419"/>
                  <a:pt x="61779" y="-371"/>
                  <a:pt x="245217" y="2"/>
                </a:cubicBezTo>
                <a:cubicBezTo>
                  <a:pt x="2364337" y="4257"/>
                  <a:pt x="4483480" y="2490"/>
                  <a:pt x="6602599" y="3071"/>
                </a:cubicBezTo>
                <a:cubicBezTo>
                  <a:pt x="6825642" y="3141"/>
                  <a:pt x="6852850" y="31606"/>
                  <a:pt x="6852990" y="260322"/>
                </a:cubicBezTo>
                <a:cubicBezTo>
                  <a:pt x="6853641" y="1323579"/>
                  <a:pt x="6853269" y="2386860"/>
                  <a:pt x="6853269" y="3450117"/>
                </a:cubicBezTo>
                <a:close/>
              </a:path>
            </a:pathLst>
          </a:custGeom>
          <a:solidFill>
            <a:schemeClr val="tx1"/>
          </a:solidFill>
          <a:ln w="2324" cap="flat">
            <a:noFill/>
            <a:prstDash val="solid"/>
            <a:miter/>
          </a:ln>
        </p:spPr>
        <p:txBody>
          <a:bodyPr rtlCol="0" anchor="ctr"/>
          <a:lstStyle/>
          <a:p>
            <a:endParaRPr lang="nl-NL" sz="1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A411B7-7F1D-4094-8578-139EBB51729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9533" y="5881903"/>
            <a:ext cx="1828042" cy="431057"/>
          </a:xfrm>
          <a:solidFill>
            <a:schemeClr val="tx1"/>
          </a:solidFill>
          <a:ln w="47625">
            <a:solidFill>
              <a:schemeClr val="tx1"/>
            </a:solidFill>
            <a:miter lim="800000"/>
          </a:ln>
        </p:spPr>
        <p:txBody>
          <a:bodyPr vert="horz" wrap="none" lIns="90000" tIns="108000" rIns="90000" bIns="72000" rtlCol="0" anchor="t" anchorCtr="0">
            <a:spAutoFit/>
          </a:bodyPr>
          <a:lstStyle>
            <a:lvl1pPr algn="l">
              <a:defRPr lang="en-GB"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/>
              <a:t>Titel afbeelding</a:t>
            </a:r>
          </a:p>
        </p:txBody>
      </p:sp>
      <p:sp>
        <p:nvSpPr>
          <p:cNvPr id="48" name="Tijdelijke aanduiding voor tekst 47">
            <a:extLst>
              <a:ext uri="{FF2B5EF4-FFF2-40B4-BE49-F238E27FC236}">
                <a16:creationId xmlns:a16="http://schemas.microsoft.com/office/drawing/2014/main" id="{C9175D8D-6640-4B4E-92DC-3A315E8FC53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02405" y="542924"/>
            <a:ext cx="312975" cy="3852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9" name="Tijdelijke aanduiding voor tekst 47">
            <a:extLst>
              <a:ext uri="{FF2B5EF4-FFF2-40B4-BE49-F238E27FC236}">
                <a16:creationId xmlns:a16="http://schemas.microsoft.com/office/drawing/2014/main" id="{877EC578-D354-4351-9424-92740817E4E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496861" y="542924"/>
            <a:ext cx="312975" cy="385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0" name="Tijdelijke aanduiding voor tekst 47">
            <a:extLst>
              <a:ext uri="{FF2B5EF4-FFF2-40B4-BE49-F238E27FC236}">
                <a16:creationId xmlns:a16="http://schemas.microsoft.com/office/drawing/2014/main" id="{A7179339-7E87-461F-846F-C9F0577029A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496861" y="5931992"/>
            <a:ext cx="312975" cy="38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74" name="Tijdelijke aanduiding voor dianummer 73">
            <a:extLst>
              <a:ext uri="{FF2B5EF4-FFF2-40B4-BE49-F238E27FC236}">
                <a16:creationId xmlns:a16="http://schemas.microsoft.com/office/drawing/2014/main" id="{1C60544A-1D65-453A-9254-B877D47F5F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FDD960-BBC1-46DD-B2F4-03916D4C47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8838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collage (geel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6">
            <a:extLst>
              <a:ext uri="{FF2B5EF4-FFF2-40B4-BE49-F238E27FC236}">
                <a16:creationId xmlns:a16="http://schemas.microsoft.com/office/drawing/2014/main" id="{4C1BAB6A-E2C8-4C01-873D-A9DBFFC0679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 rot="21240000">
            <a:off x="4988317" y="2349555"/>
            <a:ext cx="4106728" cy="3651933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4" name="Tijdelijke aanduiding voor afbeelding 6">
            <a:extLst>
              <a:ext uri="{FF2B5EF4-FFF2-40B4-BE49-F238E27FC236}">
                <a16:creationId xmlns:a16="http://schemas.microsoft.com/office/drawing/2014/main" id="{4EE72FFE-2ACD-44B1-85E0-F83A17BBA6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3846" y="600165"/>
            <a:ext cx="5019035" cy="4380267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850778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ijdelijke aanduiding voor tekst 47">
            <a:extLst>
              <a:ext uri="{FF2B5EF4-FFF2-40B4-BE49-F238E27FC236}">
                <a16:creationId xmlns:a16="http://schemas.microsoft.com/office/drawing/2014/main" id="{C9175D8D-6640-4B4E-92DC-3A315E8FC53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97073" y="519775"/>
            <a:ext cx="312975" cy="3852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9" name="Tijdelijke aanduiding voor tekst 47">
            <a:extLst>
              <a:ext uri="{FF2B5EF4-FFF2-40B4-BE49-F238E27FC236}">
                <a16:creationId xmlns:a16="http://schemas.microsoft.com/office/drawing/2014/main" id="{877EC578-D354-4351-9424-92740817E4E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235779" y="519775"/>
            <a:ext cx="312975" cy="385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0" name="Tijdelijke aanduiding voor tekst 47">
            <a:extLst>
              <a:ext uri="{FF2B5EF4-FFF2-40B4-BE49-F238E27FC236}">
                <a16:creationId xmlns:a16="http://schemas.microsoft.com/office/drawing/2014/main" id="{A7179339-7E87-461F-846F-C9F0577029A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5235779" y="4683547"/>
            <a:ext cx="312975" cy="38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5B42098-B3BF-4203-9604-83ADC3B1D9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32122" y="1588774"/>
            <a:ext cx="481369" cy="592455"/>
          </a:xfrm>
          <a:prstGeom prst="rect">
            <a:avLst/>
          </a:prstGeom>
        </p:spPr>
      </p:pic>
      <p:sp>
        <p:nvSpPr>
          <p:cNvPr id="20" name="Tijdelijke aanduiding voor tekst 47">
            <a:extLst>
              <a:ext uri="{FF2B5EF4-FFF2-40B4-BE49-F238E27FC236}">
                <a16:creationId xmlns:a16="http://schemas.microsoft.com/office/drawing/2014/main" id="{C1F49A1E-AFB9-4A58-AD0F-A477AD43C18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97073" y="4683547"/>
            <a:ext cx="312975" cy="385200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4" name="Tijdelijke aanduiding voor tekst 47">
            <a:extLst>
              <a:ext uri="{FF2B5EF4-FFF2-40B4-BE49-F238E27FC236}">
                <a16:creationId xmlns:a16="http://schemas.microsoft.com/office/drawing/2014/main" id="{56076A70-FDC0-4C48-B37E-94F236254354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8852946" y="2004060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jdelijke aanduiding voor tekst 47">
            <a:extLst>
              <a:ext uri="{FF2B5EF4-FFF2-40B4-BE49-F238E27FC236}">
                <a16:creationId xmlns:a16="http://schemas.microsoft.com/office/drawing/2014/main" id="{5B5EC3D9-F409-4C38-B941-349922BDB841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9160651" y="5591175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7" name="Tijdelijke aanduiding voor tekst 47">
            <a:extLst>
              <a:ext uri="{FF2B5EF4-FFF2-40B4-BE49-F238E27FC236}">
                <a16:creationId xmlns:a16="http://schemas.microsoft.com/office/drawing/2014/main" id="{917D41D8-7A6C-4473-B282-F4DD263171BC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5050900" y="6125336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673BAD6-C656-46B1-B6F3-BB1AC9AC534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BFDD960-BBC1-46DD-B2F4-03916D4C47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677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collage (pepermu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6">
            <a:extLst>
              <a:ext uri="{FF2B5EF4-FFF2-40B4-BE49-F238E27FC236}">
                <a16:creationId xmlns:a16="http://schemas.microsoft.com/office/drawing/2014/main" id="{4C1BAB6A-E2C8-4C01-873D-A9DBFFC0679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 rot="21240000">
            <a:off x="4988317" y="2349555"/>
            <a:ext cx="4106728" cy="3651933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4" name="Tijdelijke aanduiding voor afbeelding 6">
            <a:extLst>
              <a:ext uri="{FF2B5EF4-FFF2-40B4-BE49-F238E27FC236}">
                <a16:creationId xmlns:a16="http://schemas.microsoft.com/office/drawing/2014/main" id="{4EE72FFE-2ACD-44B1-85E0-F83A17BBA6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3846" y="600165"/>
            <a:ext cx="5019035" cy="4380267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0458694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ijdelijke aanduiding voor tekst 47">
            <a:extLst>
              <a:ext uri="{FF2B5EF4-FFF2-40B4-BE49-F238E27FC236}">
                <a16:creationId xmlns:a16="http://schemas.microsoft.com/office/drawing/2014/main" id="{C9175D8D-6640-4B4E-92DC-3A315E8FC53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97073" y="519775"/>
            <a:ext cx="312975" cy="3852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9" name="Tijdelijke aanduiding voor tekst 47">
            <a:extLst>
              <a:ext uri="{FF2B5EF4-FFF2-40B4-BE49-F238E27FC236}">
                <a16:creationId xmlns:a16="http://schemas.microsoft.com/office/drawing/2014/main" id="{877EC578-D354-4351-9424-92740817E4E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235779" y="519775"/>
            <a:ext cx="312975" cy="385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0" name="Tijdelijke aanduiding voor tekst 47">
            <a:extLst>
              <a:ext uri="{FF2B5EF4-FFF2-40B4-BE49-F238E27FC236}">
                <a16:creationId xmlns:a16="http://schemas.microsoft.com/office/drawing/2014/main" id="{A7179339-7E87-461F-846F-C9F0577029A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5235779" y="4683547"/>
            <a:ext cx="312975" cy="38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5B42098-B3BF-4203-9604-83ADC3B1D9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32122" y="1588774"/>
            <a:ext cx="481369" cy="592455"/>
          </a:xfrm>
          <a:prstGeom prst="rect">
            <a:avLst/>
          </a:prstGeom>
        </p:spPr>
      </p:pic>
      <p:sp>
        <p:nvSpPr>
          <p:cNvPr id="20" name="Tijdelijke aanduiding voor tekst 47">
            <a:extLst>
              <a:ext uri="{FF2B5EF4-FFF2-40B4-BE49-F238E27FC236}">
                <a16:creationId xmlns:a16="http://schemas.microsoft.com/office/drawing/2014/main" id="{C1F49A1E-AFB9-4A58-AD0F-A477AD43C18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97073" y="4683547"/>
            <a:ext cx="312975" cy="385200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4" name="Tijdelijke aanduiding voor tekst 47">
            <a:extLst>
              <a:ext uri="{FF2B5EF4-FFF2-40B4-BE49-F238E27FC236}">
                <a16:creationId xmlns:a16="http://schemas.microsoft.com/office/drawing/2014/main" id="{56076A70-FDC0-4C48-B37E-94F236254354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8852946" y="2004060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jdelijke aanduiding voor tekst 47">
            <a:extLst>
              <a:ext uri="{FF2B5EF4-FFF2-40B4-BE49-F238E27FC236}">
                <a16:creationId xmlns:a16="http://schemas.microsoft.com/office/drawing/2014/main" id="{5B5EC3D9-F409-4C38-B941-349922BDB841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9160651" y="5591175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7" name="Tijdelijke aanduiding voor tekst 47">
            <a:extLst>
              <a:ext uri="{FF2B5EF4-FFF2-40B4-BE49-F238E27FC236}">
                <a16:creationId xmlns:a16="http://schemas.microsoft.com/office/drawing/2014/main" id="{917D41D8-7A6C-4473-B282-F4DD263171BC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5050900" y="6125336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673BAD6-C656-46B1-B6F3-BB1AC9AC534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BFDD960-BBC1-46DD-B2F4-03916D4C47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565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collage (lavendel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6">
            <a:extLst>
              <a:ext uri="{FF2B5EF4-FFF2-40B4-BE49-F238E27FC236}">
                <a16:creationId xmlns:a16="http://schemas.microsoft.com/office/drawing/2014/main" id="{4C1BAB6A-E2C8-4C01-873D-A9DBFFC0679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 rot="21240000">
            <a:off x="4988317" y="2349555"/>
            <a:ext cx="4106728" cy="3651933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4" name="Tijdelijke aanduiding voor afbeelding 6">
            <a:extLst>
              <a:ext uri="{FF2B5EF4-FFF2-40B4-BE49-F238E27FC236}">
                <a16:creationId xmlns:a16="http://schemas.microsoft.com/office/drawing/2014/main" id="{4EE72FFE-2ACD-44B1-85E0-F83A17BBA6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3846" y="600165"/>
            <a:ext cx="5019035" cy="4380267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903778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ijdelijke aanduiding voor tekst 47">
            <a:extLst>
              <a:ext uri="{FF2B5EF4-FFF2-40B4-BE49-F238E27FC236}">
                <a16:creationId xmlns:a16="http://schemas.microsoft.com/office/drawing/2014/main" id="{C9175D8D-6640-4B4E-92DC-3A315E8FC53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97073" y="519775"/>
            <a:ext cx="312975" cy="3852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9" name="Tijdelijke aanduiding voor tekst 47">
            <a:extLst>
              <a:ext uri="{FF2B5EF4-FFF2-40B4-BE49-F238E27FC236}">
                <a16:creationId xmlns:a16="http://schemas.microsoft.com/office/drawing/2014/main" id="{877EC578-D354-4351-9424-92740817E4E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235779" y="519775"/>
            <a:ext cx="312975" cy="385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0" name="Tijdelijke aanduiding voor tekst 47">
            <a:extLst>
              <a:ext uri="{FF2B5EF4-FFF2-40B4-BE49-F238E27FC236}">
                <a16:creationId xmlns:a16="http://schemas.microsoft.com/office/drawing/2014/main" id="{A7179339-7E87-461F-846F-C9F0577029A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5235779" y="4683547"/>
            <a:ext cx="312975" cy="38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5B42098-B3BF-4203-9604-83ADC3B1D9E4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32122" y="1588774"/>
            <a:ext cx="481369" cy="592455"/>
          </a:xfrm>
          <a:prstGeom prst="rect">
            <a:avLst/>
          </a:prstGeom>
        </p:spPr>
      </p:pic>
      <p:sp>
        <p:nvSpPr>
          <p:cNvPr id="20" name="Tijdelijke aanduiding voor tekst 47">
            <a:extLst>
              <a:ext uri="{FF2B5EF4-FFF2-40B4-BE49-F238E27FC236}">
                <a16:creationId xmlns:a16="http://schemas.microsoft.com/office/drawing/2014/main" id="{C1F49A1E-AFB9-4A58-AD0F-A477AD43C18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97073" y="4683547"/>
            <a:ext cx="312975" cy="385200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4" name="Tijdelijke aanduiding voor tekst 47">
            <a:extLst>
              <a:ext uri="{FF2B5EF4-FFF2-40B4-BE49-F238E27FC236}">
                <a16:creationId xmlns:a16="http://schemas.microsoft.com/office/drawing/2014/main" id="{56076A70-FDC0-4C48-B37E-94F236254354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8852946" y="2004060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jdelijke aanduiding voor tekst 47">
            <a:extLst>
              <a:ext uri="{FF2B5EF4-FFF2-40B4-BE49-F238E27FC236}">
                <a16:creationId xmlns:a16="http://schemas.microsoft.com/office/drawing/2014/main" id="{5B5EC3D9-F409-4C38-B941-349922BDB841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9160651" y="5591175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7" name="Tijdelijke aanduiding voor tekst 47">
            <a:extLst>
              <a:ext uri="{FF2B5EF4-FFF2-40B4-BE49-F238E27FC236}">
                <a16:creationId xmlns:a16="http://schemas.microsoft.com/office/drawing/2014/main" id="{917D41D8-7A6C-4473-B282-F4DD263171BC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5050900" y="6125336"/>
            <a:ext cx="178540" cy="219741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673BAD6-C656-46B1-B6F3-BB1AC9AC534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BFDD960-BBC1-46DD-B2F4-03916D4C47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8071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collage (papaya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7210543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1">
            <a:extLst>
              <a:ext uri="{FF2B5EF4-FFF2-40B4-BE49-F238E27FC236}">
                <a16:creationId xmlns:a16="http://schemas.microsoft.com/office/drawing/2014/main" id="{512B8A51-DBA1-624E-8D21-3B1A083ED164}"/>
              </a:ext>
            </a:extLst>
          </p:cNvPr>
          <p:cNvSpPr txBox="1"/>
          <p:nvPr userDrawn="1"/>
        </p:nvSpPr>
        <p:spPr>
          <a:xfrm rot="529474">
            <a:off x="6650189" y="778420"/>
            <a:ext cx="2419252" cy="12490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nl-NL" sz="3600" b="1" dirty="0">
                <a:highlight>
                  <a:srgbClr val="FAF0D7"/>
                </a:highlight>
              </a:rPr>
              <a:t>ONTWERP-</a:t>
            </a:r>
          </a:p>
          <a:p>
            <a:pPr algn="ctr"/>
            <a:r>
              <a:rPr lang="nl-NL" sz="3600" b="1" dirty="0">
                <a:highlight>
                  <a:srgbClr val="FAF0D7"/>
                </a:highlight>
              </a:rPr>
              <a:t>METHODE</a:t>
            </a:r>
            <a:endParaRPr lang="en-NL" sz="3600" b="1">
              <a:highlight>
                <a:srgbClr val="FAF0D7"/>
              </a:highlight>
            </a:endParaRPr>
          </a:p>
        </p:txBody>
      </p:sp>
      <p:pic>
        <p:nvPicPr>
          <p:cNvPr id="16" name="Google Shape;91;p23">
            <a:extLst>
              <a:ext uri="{FF2B5EF4-FFF2-40B4-BE49-F238E27FC236}">
                <a16:creationId xmlns:a16="http://schemas.microsoft.com/office/drawing/2014/main" id="{C1FA9E49-3FB4-9E43-ADD9-3865620B9C16}"/>
              </a:ext>
            </a:extLst>
          </p:cNvPr>
          <p:cNvPicPr preferRelativeResize="0"/>
          <p:nvPr userDrawn="1"/>
        </p:nvPicPr>
        <p:blipFill>
          <a:blip r:embed="rId5">
            <a:alphaModFix/>
            <a:lum bright="70000" contrast="-70000"/>
          </a:blip>
          <a:stretch>
            <a:fillRect/>
          </a:stretch>
        </p:blipFill>
        <p:spPr>
          <a:xfrm>
            <a:off x="5627920" y="1689259"/>
            <a:ext cx="4186746" cy="5152919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vaal 16">
            <a:extLst>
              <a:ext uri="{FF2B5EF4-FFF2-40B4-BE49-F238E27FC236}">
                <a16:creationId xmlns:a16="http://schemas.microsoft.com/office/drawing/2014/main" id="{9CD5098E-F183-054A-8946-2B59CA49F08B}"/>
              </a:ext>
            </a:extLst>
          </p:cNvPr>
          <p:cNvSpPr/>
          <p:nvPr userDrawn="1"/>
        </p:nvSpPr>
        <p:spPr>
          <a:xfrm>
            <a:off x="6701518" y="3058973"/>
            <a:ext cx="2039549" cy="2510215"/>
          </a:xfrm>
          <a:prstGeom prst="ellipse">
            <a:avLst/>
          </a:prstGeom>
          <a:solidFill>
            <a:srgbClr val="FFE4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nl-NL" sz="1200" dirty="0" err="1">
              <a:solidFill>
                <a:schemeClr val="tx1"/>
              </a:solidFill>
            </a:endParaRPr>
          </a:p>
        </p:txBody>
      </p:sp>
      <p:pic>
        <p:nvPicPr>
          <p:cNvPr id="18" name="paint.png" descr="paint.png">
            <a:extLst>
              <a:ext uri="{FF2B5EF4-FFF2-40B4-BE49-F238E27FC236}">
                <a16:creationId xmlns:a16="http://schemas.microsoft.com/office/drawing/2014/main" id="{8A80A603-1CE8-F94C-BF38-72466EFA7D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883383" y="4265719"/>
            <a:ext cx="532943" cy="656508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pencilcross.png" descr="pencilcross.png">
            <a:extLst>
              <a:ext uri="{FF2B5EF4-FFF2-40B4-BE49-F238E27FC236}">
                <a16:creationId xmlns:a16="http://schemas.microsoft.com/office/drawing/2014/main" id="{FFCBB586-D189-4F4B-900F-C54ADD78B8B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92133" y="3206042"/>
            <a:ext cx="533413" cy="656508"/>
          </a:xfrm>
          <a:prstGeom prst="rect">
            <a:avLst/>
          </a:prstGeom>
          <a:ln w="12700">
            <a:miter lim="400000"/>
          </a:ln>
        </p:spPr>
      </p:pic>
      <p:pic>
        <p:nvPicPr>
          <p:cNvPr id="22" name="pizaa.png" descr="pizaa.png">
            <a:extLst>
              <a:ext uri="{FF2B5EF4-FFF2-40B4-BE49-F238E27FC236}">
                <a16:creationId xmlns:a16="http://schemas.microsoft.com/office/drawing/2014/main" id="{373495E0-8BAC-C24B-B0CD-69E3CB41DC2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14765" y="4826422"/>
            <a:ext cx="609450" cy="750092"/>
          </a:xfrm>
          <a:prstGeom prst="rect">
            <a:avLst/>
          </a:prstGeom>
          <a:ln w="12700">
            <a:miter lim="400000"/>
          </a:ln>
        </p:spPr>
      </p:pic>
      <p:pic>
        <p:nvPicPr>
          <p:cNvPr id="23" name="postit.png" descr="postit.png">
            <a:extLst>
              <a:ext uri="{FF2B5EF4-FFF2-40B4-BE49-F238E27FC236}">
                <a16:creationId xmlns:a16="http://schemas.microsoft.com/office/drawing/2014/main" id="{9C89D856-B318-F240-AE58-64D04ECC95C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47090" y="3638065"/>
            <a:ext cx="533413" cy="656508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iot.png" descr="iot.png">
            <a:extLst>
              <a:ext uri="{FF2B5EF4-FFF2-40B4-BE49-F238E27FC236}">
                <a16:creationId xmlns:a16="http://schemas.microsoft.com/office/drawing/2014/main" id="{C266B6A3-A29C-9547-A2F8-D550598933E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454823" y="4091762"/>
            <a:ext cx="532943" cy="655929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plug.png" descr="plug.png">
            <a:extLst>
              <a:ext uri="{FF2B5EF4-FFF2-40B4-BE49-F238E27FC236}">
                <a16:creationId xmlns:a16="http://schemas.microsoft.com/office/drawing/2014/main" id="{33B354B7-EDFB-9443-B987-FDC7167BE91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190559" y="4015161"/>
            <a:ext cx="533413" cy="656508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search.png" descr="search.png">
            <a:extLst>
              <a:ext uri="{FF2B5EF4-FFF2-40B4-BE49-F238E27FC236}">
                <a16:creationId xmlns:a16="http://schemas.microsoft.com/office/drawing/2014/main" id="{ECE19CC1-B2AA-624C-AB65-74C508EC42F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8362" y="3434617"/>
            <a:ext cx="533413" cy="656508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tape.png" descr="tape.png">
            <a:extLst>
              <a:ext uri="{FF2B5EF4-FFF2-40B4-BE49-F238E27FC236}">
                <a16:creationId xmlns:a16="http://schemas.microsoft.com/office/drawing/2014/main" id="{1EEDF037-8BD8-6442-A33E-C7F704D336B7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954043" y="4584739"/>
            <a:ext cx="533413" cy="65650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9CAA467B-709B-3F4E-AED3-AE73C0E4DAD6}"/>
              </a:ext>
            </a:extLst>
          </p:cNvPr>
          <p:cNvSpPr/>
          <p:nvPr userDrawn="1"/>
        </p:nvSpPr>
        <p:spPr>
          <a:xfrm>
            <a:off x="261454" y="1764276"/>
            <a:ext cx="5385132" cy="3329455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nl-NL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9916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(geel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EE4717C6-3C07-4484-BF36-DE6F019142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40660" y="777240"/>
            <a:ext cx="1696500" cy="2088000"/>
          </a:xfrm>
          <a:noFill/>
          <a:ln w="47625">
            <a:noFill/>
          </a:ln>
        </p:spPr>
        <p:txBody>
          <a:bodyPr bIns="1008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098012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612582" y="2670180"/>
            <a:ext cx="5502008" cy="1428001"/>
          </a:xfrm>
          <a:solidFill>
            <a:schemeClr val="tx1"/>
          </a:solidFill>
          <a:ln w="47625">
            <a:solidFill>
              <a:schemeClr val="tx1"/>
            </a:solidFill>
          </a:ln>
        </p:spPr>
        <p:txBody>
          <a:bodyPr wrap="square" lIns="90000" tIns="108000" rIns="90000" bIns="36000">
            <a:spAutoFit/>
          </a:bodyPr>
          <a:lstStyle>
            <a:lvl1pPr marL="0" indent="0" algn="l">
              <a:lnSpc>
                <a:spcPct val="120000"/>
              </a:lnSpc>
              <a:buNone/>
              <a:defRPr sz="3600">
                <a:solidFill>
                  <a:schemeClr val="accent1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Een statement over maximaal 2 regels</a:t>
            </a:r>
          </a:p>
        </p:txBody>
      </p:sp>
      <p:sp>
        <p:nvSpPr>
          <p:cNvPr id="20" name="Tijdelijke aanduiding voor tekst 47">
            <a:extLst>
              <a:ext uri="{FF2B5EF4-FFF2-40B4-BE49-F238E27FC236}">
                <a16:creationId xmlns:a16="http://schemas.microsoft.com/office/drawing/2014/main" id="{452846F8-83E8-4ACF-BEAB-200F8F4538D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174495" y="4478655"/>
            <a:ext cx="345851" cy="425663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9" name="Tijdelijke aanduiding voor tekst 2">
            <a:extLst>
              <a:ext uri="{FF2B5EF4-FFF2-40B4-BE49-F238E27FC236}">
                <a16:creationId xmlns:a16="http://schemas.microsoft.com/office/drawing/2014/main" id="{E4808F04-3ADC-427C-95DA-1E99C7DD275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451871" y="4823511"/>
            <a:ext cx="988069" cy="458834"/>
          </a:xfrm>
          <a:solidFill>
            <a:schemeClr val="bg1"/>
          </a:solidFill>
          <a:ln w="41275">
            <a:solidFill>
              <a:schemeClr val="tx1"/>
            </a:solidFill>
          </a:ln>
        </p:spPr>
        <p:txBody>
          <a:bodyPr wrap="none" lIns="90000" tIns="36000" rIns="90000" bIns="36000">
            <a:spAutoFit/>
          </a:bodyPr>
          <a:lstStyle>
            <a:lvl1pPr marL="0" indent="0" algn="l">
              <a:lnSpc>
                <a:spcPct val="120000"/>
              </a:lnSpc>
              <a:buNone/>
              <a:defRPr sz="2250">
                <a:solidFill>
                  <a:schemeClr val="tx1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Naam</a:t>
            </a:r>
          </a:p>
        </p:txBody>
      </p:sp>
    </p:spTree>
    <p:extLst>
      <p:ext uri="{BB962C8B-B14F-4D97-AF65-F5344CB8AC3E}">
        <p14:creationId xmlns:p14="http://schemas.microsoft.com/office/powerpoint/2010/main" val="24298711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(pepermu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ECFC27AD-DEE2-49DC-8ED1-C965963E0F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40660" y="777240"/>
            <a:ext cx="1696500" cy="2088000"/>
          </a:xfrm>
          <a:noFill/>
          <a:ln w="47625">
            <a:noFill/>
          </a:ln>
        </p:spPr>
        <p:txBody>
          <a:bodyPr bIns="1008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751067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612582" y="2670180"/>
            <a:ext cx="5502008" cy="1428001"/>
          </a:xfrm>
          <a:solidFill>
            <a:schemeClr val="tx1"/>
          </a:solidFill>
          <a:ln w="47625">
            <a:solidFill>
              <a:schemeClr val="tx1"/>
            </a:solidFill>
          </a:ln>
        </p:spPr>
        <p:txBody>
          <a:bodyPr wrap="square" lIns="90000" tIns="108000" rIns="90000" bIns="36000">
            <a:spAutoFit/>
          </a:bodyPr>
          <a:lstStyle>
            <a:lvl1pPr marL="0" indent="0" algn="l">
              <a:lnSpc>
                <a:spcPct val="120000"/>
              </a:lnSpc>
              <a:buNone/>
              <a:defRPr sz="3600">
                <a:solidFill>
                  <a:schemeClr val="accent2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Een statement over maximaal 2 regels</a:t>
            </a:r>
          </a:p>
        </p:txBody>
      </p:sp>
      <p:sp>
        <p:nvSpPr>
          <p:cNvPr id="20" name="Tijdelijke aanduiding voor tekst 47">
            <a:extLst>
              <a:ext uri="{FF2B5EF4-FFF2-40B4-BE49-F238E27FC236}">
                <a16:creationId xmlns:a16="http://schemas.microsoft.com/office/drawing/2014/main" id="{452846F8-83E8-4ACF-BEAB-200F8F4538D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174495" y="4478655"/>
            <a:ext cx="345851" cy="425663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9" name="Tijdelijke aanduiding voor tekst 2">
            <a:extLst>
              <a:ext uri="{FF2B5EF4-FFF2-40B4-BE49-F238E27FC236}">
                <a16:creationId xmlns:a16="http://schemas.microsoft.com/office/drawing/2014/main" id="{E4808F04-3ADC-427C-95DA-1E99C7DD275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451871" y="4823511"/>
            <a:ext cx="988069" cy="458834"/>
          </a:xfrm>
          <a:solidFill>
            <a:schemeClr val="bg1"/>
          </a:solidFill>
          <a:ln w="41275">
            <a:solidFill>
              <a:schemeClr val="tx1"/>
            </a:solidFill>
          </a:ln>
        </p:spPr>
        <p:txBody>
          <a:bodyPr wrap="none" lIns="90000" tIns="36000" rIns="90000" bIns="36000">
            <a:spAutoFit/>
          </a:bodyPr>
          <a:lstStyle>
            <a:lvl1pPr marL="0" indent="0" algn="l">
              <a:lnSpc>
                <a:spcPct val="120000"/>
              </a:lnSpc>
              <a:buNone/>
              <a:defRPr sz="2250">
                <a:solidFill>
                  <a:schemeClr val="tx1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Naam</a:t>
            </a:r>
          </a:p>
        </p:txBody>
      </p:sp>
    </p:spTree>
    <p:extLst>
      <p:ext uri="{BB962C8B-B14F-4D97-AF65-F5344CB8AC3E}">
        <p14:creationId xmlns:p14="http://schemas.microsoft.com/office/powerpoint/2010/main" val="5721930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(lavendel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831368FD-370F-44ED-9ED3-63E8A3A4783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40660" y="777240"/>
            <a:ext cx="1696500" cy="2088000"/>
          </a:xfrm>
          <a:noFill/>
          <a:ln w="47625">
            <a:noFill/>
          </a:ln>
        </p:spPr>
        <p:txBody>
          <a:bodyPr bIns="1008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107776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612582" y="2670180"/>
            <a:ext cx="5502008" cy="1428001"/>
          </a:xfrm>
          <a:solidFill>
            <a:schemeClr val="tx1"/>
          </a:solidFill>
          <a:ln w="47625">
            <a:solidFill>
              <a:schemeClr val="tx1"/>
            </a:solidFill>
          </a:ln>
        </p:spPr>
        <p:txBody>
          <a:bodyPr wrap="square" lIns="90000" tIns="108000" rIns="90000" bIns="36000">
            <a:spAutoFit/>
          </a:bodyPr>
          <a:lstStyle>
            <a:lvl1pPr marL="0" indent="0" algn="l">
              <a:lnSpc>
                <a:spcPct val="120000"/>
              </a:lnSpc>
              <a:buNone/>
              <a:defRPr sz="3600">
                <a:solidFill>
                  <a:schemeClr val="accent3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Een statement over maximaal 2 regels</a:t>
            </a:r>
          </a:p>
        </p:txBody>
      </p:sp>
      <p:sp>
        <p:nvSpPr>
          <p:cNvPr id="20" name="Tijdelijke aanduiding voor tekst 47">
            <a:extLst>
              <a:ext uri="{FF2B5EF4-FFF2-40B4-BE49-F238E27FC236}">
                <a16:creationId xmlns:a16="http://schemas.microsoft.com/office/drawing/2014/main" id="{452846F8-83E8-4ACF-BEAB-200F8F4538D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174495" y="4478655"/>
            <a:ext cx="345851" cy="425663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9" name="Tijdelijke aanduiding voor tekst 2">
            <a:extLst>
              <a:ext uri="{FF2B5EF4-FFF2-40B4-BE49-F238E27FC236}">
                <a16:creationId xmlns:a16="http://schemas.microsoft.com/office/drawing/2014/main" id="{E4808F04-3ADC-427C-95DA-1E99C7DD275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451871" y="4823511"/>
            <a:ext cx="988069" cy="458834"/>
          </a:xfrm>
          <a:solidFill>
            <a:schemeClr val="bg1"/>
          </a:solidFill>
          <a:ln w="41275">
            <a:solidFill>
              <a:schemeClr val="tx1"/>
            </a:solidFill>
          </a:ln>
        </p:spPr>
        <p:txBody>
          <a:bodyPr wrap="none" lIns="90000" tIns="36000" rIns="90000" bIns="36000">
            <a:spAutoFit/>
          </a:bodyPr>
          <a:lstStyle>
            <a:lvl1pPr marL="0" indent="0" algn="l">
              <a:lnSpc>
                <a:spcPct val="120000"/>
              </a:lnSpc>
              <a:buNone/>
              <a:defRPr sz="2250">
                <a:solidFill>
                  <a:schemeClr val="tx1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Naam</a:t>
            </a:r>
          </a:p>
        </p:txBody>
      </p:sp>
    </p:spTree>
    <p:extLst>
      <p:ext uri="{BB962C8B-B14F-4D97-AF65-F5344CB8AC3E}">
        <p14:creationId xmlns:p14="http://schemas.microsoft.com/office/powerpoint/2010/main" val="4116018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(papaya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A1E9FEFC-6411-47DD-A52A-32E5E114FD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40660" y="777240"/>
            <a:ext cx="1696500" cy="2088000"/>
          </a:xfrm>
          <a:noFill/>
          <a:ln w="47625">
            <a:noFill/>
          </a:ln>
        </p:spPr>
        <p:txBody>
          <a:bodyPr bIns="1008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538033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612582" y="2670180"/>
            <a:ext cx="5502008" cy="1428001"/>
          </a:xfrm>
          <a:solidFill>
            <a:schemeClr val="tx1"/>
          </a:solidFill>
          <a:ln w="47625">
            <a:solidFill>
              <a:schemeClr val="tx1"/>
            </a:solidFill>
          </a:ln>
        </p:spPr>
        <p:txBody>
          <a:bodyPr wrap="square" lIns="90000" tIns="108000" rIns="90000" bIns="36000">
            <a:spAutoFit/>
          </a:bodyPr>
          <a:lstStyle>
            <a:lvl1pPr marL="0" indent="0" algn="l">
              <a:lnSpc>
                <a:spcPct val="120000"/>
              </a:lnSpc>
              <a:buNone/>
              <a:defRPr sz="3600">
                <a:solidFill>
                  <a:schemeClr val="accent4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Een statement over maximaal 2 regels</a:t>
            </a:r>
          </a:p>
        </p:txBody>
      </p:sp>
      <p:sp>
        <p:nvSpPr>
          <p:cNvPr id="20" name="Tijdelijke aanduiding voor tekst 47">
            <a:extLst>
              <a:ext uri="{FF2B5EF4-FFF2-40B4-BE49-F238E27FC236}">
                <a16:creationId xmlns:a16="http://schemas.microsoft.com/office/drawing/2014/main" id="{452846F8-83E8-4ACF-BEAB-200F8F4538D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174495" y="4478655"/>
            <a:ext cx="345851" cy="425663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9" name="Tijdelijke aanduiding voor tekst 2">
            <a:extLst>
              <a:ext uri="{FF2B5EF4-FFF2-40B4-BE49-F238E27FC236}">
                <a16:creationId xmlns:a16="http://schemas.microsoft.com/office/drawing/2014/main" id="{E4808F04-3ADC-427C-95DA-1E99C7DD275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451871" y="4823511"/>
            <a:ext cx="988069" cy="458834"/>
          </a:xfrm>
          <a:solidFill>
            <a:schemeClr val="bg1"/>
          </a:solidFill>
          <a:ln w="41275">
            <a:solidFill>
              <a:schemeClr val="tx1"/>
            </a:solidFill>
          </a:ln>
        </p:spPr>
        <p:txBody>
          <a:bodyPr wrap="none" lIns="90000" tIns="36000" rIns="90000" bIns="36000">
            <a:spAutoFit/>
          </a:bodyPr>
          <a:lstStyle>
            <a:lvl1pPr marL="0" indent="0" algn="l">
              <a:lnSpc>
                <a:spcPct val="120000"/>
              </a:lnSpc>
              <a:buNone/>
              <a:defRPr sz="2250">
                <a:solidFill>
                  <a:schemeClr val="tx1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Naam</a:t>
            </a:r>
          </a:p>
        </p:txBody>
      </p:sp>
    </p:spTree>
    <p:extLst>
      <p:ext uri="{BB962C8B-B14F-4D97-AF65-F5344CB8AC3E}">
        <p14:creationId xmlns:p14="http://schemas.microsoft.com/office/powerpoint/2010/main" val="36059677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on met tekst (geel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913380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08382" y="4645966"/>
            <a:ext cx="1289240" cy="721654"/>
          </a:xfrm>
          <a:solidFill>
            <a:schemeClr val="tx1"/>
          </a:solidFill>
          <a:ln w="47625">
            <a:solidFill>
              <a:schemeClr val="tx1"/>
            </a:solidFill>
          </a:ln>
        </p:spPr>
        <p:txBody>
          <a:bodyPr wrap="none" lIns="90000" tIns="108000" rIns="90000" bIns="36000">
            <a:spAutoFit/>
          </a:bodyPr>
          <a:lstStyle>
            <a:lvl1pPr marL="0" indent="0" algn="ctr">
              <a:lnSpc>
                <a:spcPct val="110000"/>
              </a:lnSpc>
              <a:buNone/>
              <a:defRPr sz="3600">
                <a:solidFill>
                  <a:schemeClr val="accent1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39CE4E43-D6E7-453C-B20B-BDB03C94D8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10807" y="1417319"/>
            <a:ext cx="2084388" cy="2565400"/>
          </a:xfrm>
          <a:noFill/>
          <a:ln w="47625">
            <a:noFill/>
          </a:ln>
        </p:spPr>
        <p:txBody>
          <a:bodyPr bIns="720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</p:spTree>
    <p:extLst>
      <p:ext uri="{BB962C8B-B14F-4D97-AF65-F5344CB8AC3E}">
        <p14:creationId xmlns:p14="http://schemas.microsoft.com/office/powerpoint/2010/main" val="1085974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933537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A411B7-7F1D-4094-8578-139EBB517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9568" y="2639580"/>
            <a:ext cx="2427565" cy="789411"/>
          </a:xfrm>
          <a:ln w="25400">
            <a:solidFill>
              <a:schemeClr val="tx1"/>
            </a:solidFill>
          </a:ln>
        </p:spPr>
        <p:txBody>
          <a:bodyPr vert="horz" wrap="none" lIns="90000" tIns="216000" rIns="90000" bIns="72000" rtlCol="0" anchor="b" anchorCtr="0">
            <a:spAutoFit/>
          </a:bodyPr>
          <a:lstStyle>
            <a:lvl1pPr>
              <a:defRPr lang="en-GB"/>
            </a:lvl1pPr>
          </a:lstStyle>
          <a:p>
            <a:pPr lvl="0"/>
            <a:r>
              <a:rPr lang="nl-NL"/>
              <a:t>Hoofdstuk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577099" y="3426766"/>
            <a:ext cx="2376268" cy="721654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 wrap="none" lIns="90000" tIns="108000" rIns="90000" bIns="36000">
            <a:spAutoFit/>
          </a:bodyPr>
          <a:lstStyle>
            <a:lvl1pPr marL="0" indent="0" algn="r">
              <a:lnSpc>
                <a:spcPct val="110000"/>
              </a:lnSpc>
              <a:buNone/>
              <a:defRPr sz="3600">
                <a:solidFill>
                  <a:schemeClr val="accent1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Ondertitel</a:t>
            </a:r>
          </a:p>
        </p:txBody>
      </p:sp>
      <p:sp>
        <p:nvSpPr>
          <p:cNvPr id="6" name="Tijdelijke aanduiding voor afbeelding 6">
            <a:extLst>
              <a:ext uri="{FF2B5EF4-FFF2-40B4-BE49-F238E27FC236}">
                <a16:creationId xmlns:a16="http://schemas.microsoft.com/office/drawing/2014/main" id="{4C08083F-74CB-4CC3-8DEF-1F9730ECD3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58445" y="4648820"/>
            <a:ext cx="391950" cy="489600"/>
          </a:xfrm>
          <a:noFill/>
          <a:ln w="47625">
            <a:noFill/>
          </a:ln>
        </p:spPr>
        <p:txBody>
          <a:bodyPr bIns="36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788" cap="all" baseline="0"/>
            </a:lvl1pPr>
          </a:lstStyle>
          <a:p>
            <a:r>
              <a:rPr lang="nl-NL"/>
              <a:t>ICOON</a:t>
            </a:r>
          </a:p>
        </p:txBody>
      </p:sp>
    </p:spTree>
    <p:extLst>
      <p:ext uri="{BB962C8B-B14F-4D97-AF65-F5344CB8AC3E}">
        <p14:creationId xmlns:p14="http://schemas.microsoft.com/office/powerpoint/2010/main" val="13672935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on met tekst (pepermu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1250907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08382" y="4645966"/>
            <a:ext cx="1289240" cy="721654"/>
          </a:xfrm>
          <a:solidFill>
            <a:schemeClr val="tx1"/>
          </a:solidFill>
          <a:ln w="47625">
            <a:solidFill>
              <a:schemeClr val="tx1"/>
            </a:solidFill>
          </a:ln>
        </p:spPr>
        <p:txBody>
          <a:bodyPr wrap="none" lIns="90000" tIns="108000" rIns="90000" bIns="36000">
            <a:spAutoFit/>
          </a:bodyPr>
          <a:lstStyle>
            <a:lvl1pPr marL="0" indent="0" algn="ctr">
              <a:lnSpc>
                <a:spcPct val="110000"/>
              </a:lnSpc>
              <a:buNone/>
              <a:defRPr sz="3600">
                <a:solidFill>
                  <a:schemeClr val="accent2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39CE4E43-D6E7-453C-B20B-BDB03C94D8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10807" y="1417319"/>
            <a:ext cx="2084388" cy="2565400"/>
          </a:xfrm>
          <a:noFill/>
          <a:ln w="47625">
            <a:noFill/>
          </a:ln>
        </p:spPr>
        <p:txBody>
          <a:bodyPr bIns="720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</p:spTree>
    <p:extLst>
      <p:ext uri="{BB962C8B-B14F-4D97-AF65-F5344CB8AC3E}">
        <p14:creationId xmlns:p14="http://schemas.microsoft.com/office/powerpoint/2010/main" val="40308363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on met tekst (lavendel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1953314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08382" y="4645966"/>
            <a:ext cx="1289240" cy="721654"/>
          </a:xfrm>
          <a:solidFill>
            <a:schemeClr val="tx1"/>
          </a:solidFill>
          <a:ln w="47625">
            <a:solidFill>
              <a:schemeClr val="tx1"/>
            </a:solidFill>
          </a:ln>
        </p:spPr>
        <p:txBody>
          <a:bodyPr wrap="none" lIns="90000" tIns="108000" rIns="90000" bIns="36000">
            <a:spAutoFit/>
          </a:bodyPr>
          <a:lstStyle>
            <a:lvl1pPr marL="0" indent="0" algn="ctr">
              <a:lnSpc>
                <a:spcPct val="110000"/>
              </a:lnSpc>
              <a:buNone/>
              <a:defRPr sz="3600">
                <a:solidFill>
                  <a:schemeClr val="accent3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39CE4E43-D6E7-453C-B20B-BDB03C94D8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10807" y="1417319"/>
            <a:ext cx="2084388" cy="2565400"/>
          </a:xfrm>
          <a:noFill/>
          <a:ln w="47625">
            <a:noFill/>
          </a:ln>
        </p:spPr>
        <p:txBody>
          <a:bodyPr bIns="720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</p:spTree>
    <p:extLst>
      <p:ext uri="{BB962C8B-B14F-4D97-AF65-F5344CB8AC3E}">
        <p14:creationId xmlns:p14="http://schemas.microsoft.com/office/powerpoint/2010/main" val="27377567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on met tekst (papaya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339758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220818D5-1911-44A6-A38A-1F35066650A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308382" y="4645966"/>
            <a:ext cx="1289240" cy="721654"/>
          </a:xfrm>
          <a:solidFill>
            <a:schemeClr val="tx1"/>
          </a:solidFill>
          <a:ln w="47625">
            <a:solidFill>
              <a:schemeClr val="tx1"/>
            </a:solidFill>
          </a:ln>
        </p:spPr>
        <p:txBody>
          <a:bodyPr wrap="none" lIns="90000" tIns="108000" rIns="90000" bIns="36000">
            <a:spAutoFit/>
          </a:bodyPr>
          <a:lstStyle>
            <a:lvl1pPr marL="0" indent="0" algn="ctr">
              <a:lnSpc>
                <a:spcPct val="110000"/>
              </a:lnSpc>
              <a:buNone/>
              <a:defRPr sz="3600">
                <a:solidFill>
                  <a:schemeClr val="accent4"/>
                </a:solidFill>
              </a:defRPr>
            </a:lvl1pPr>
            <a:lvl2pPr marL="3429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2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3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30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39CE4E43-D6E7-453C-B20B-BDB03C94D8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10807" y="1417319"/>
            <a:ext cx="2084388" cy="2565400"/>
          </a:xfrm>
          <a:noFill/>
          <a:ln w="47625">
            <a:noFill/>
          </a:ln>
        </p:spPr>
        <p:txBody>
          <a:bodyPr bIns="720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</p:spTree>
    <p:extLst>
      <p:ext uri="{BB962C8B-B14F-4D97-AF65-F5344CB8AC3E}">
        <p14:creationId xmlns:p14="http://schemas.microsoft.com/office/powerpoint/2010/main" val="1856862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1AEC7E-4586-4E16-90EB-C48EE67AED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37F1BD3-B416-48EB-A880-40952EB89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32429" y="6597598"/>
            <a:ext cx="441146" cy="150041"/>
          </a:xfrm>
        </p:spPr>
        <p:txBody>
          <a:bodyPr/>
          <a:lstStyle/>
          <a:p>
            <a:fld id="{5BFDD960-BBC1-46DD-B2F4-03916D4C47B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76412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617826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63876938-CE18-471B-A823-712A406990F7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11882" b="5544"/>
          <a:stretch/>
        </p:blipFill>
        <p:spPr>
          <a:xfrm>
            <a:off x="8583549" y="3759964"/>
            <a:ext cx="1322451" cy="3098041"/>
          </a:xfrm>
          <a:prstGeom prst="rect">
            <a:avLst/>
          </a:prstGeom>
        </p:spPr>
      </p:pic>
      <p:sp>
        <p:nvSpPr>
          <p:cNvPr id="6" name="Tijdelijke aanduiding voor afbeelding 6">
            <a:extLst>
              <a:ext uri="{FF2B5EF4-FFF2-40B4-BE49-F238E27FC236}">
                <a16:creationId xmlns:a16="http://schemas.microsoft.com/office/drawing/2014/main" id="{F485B1A8-696F-4AA8-A27B-1BFF51765B7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286636" y="1974551"/>
            <a:ext cx="1953900" cy="2404800"/>
          </a:xfrm>
          <a:noFill/>
          <a:ln w="47625">
            <a:noFill/>
          </a:ln>
        </p:spPr>
        <p:txBody>
          <a:bodyPr bIns="1008000" anchor="ctr" anchorCtr="0"/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PLAK EEN ICOON IN DEZE PLACEHOL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523A99-BACB-4A28-97C4-FCE14F86F4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21180000">
            <a:off x="4077562" y="2815119"/>
            <a:ext cx="3155379" cy="1038710"/>
          </a:xfrm>
          <a:ln w="44450">
            <a:solidFill>
              <a:schemeClr val="tx1"/>
            </a:solidFill>
          </a:ln>
        </p:spPr>
        <p:txBody>
          <a:bodyPr wrap="none" lIns="144000" tIns="216000" rIns="144000" bIns="72000" anchor="t" anchorCtr="0">
            <a:spAutoFit/>
          </a:bodyPr>
          <a:lstStyle>
            <a:lvl1pPr marL="0" indent="0" algn="l">
              <a:lnSpc>
                <a:spcPct val="90000"/>
              </a:lnSpc>
              <a:buNone/>
              <a:defRPr sz="5400"/>
            </a:lvl1pPr>
          </a:lstStyle>
          <a:p>
            <a:pPr lvl="0"/>
            <a:r>
              <a:rPr lang="nl-NL"/>
              <a:t>Bedankt!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4583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26C4BD-2C31-4D15-BEA0-125A64F051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0057830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26C4BD-2C31-4D15-BEA0-125A64F051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07765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Zw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26C4BD-2C31-4D15-BEA0-125A64F051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5558755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26C4BD-2C31-4D15-BEA0-125A64F051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034040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EB60C-604D-41CE-8A0C-9392F4B2AD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6C86446-3229-40F3-80CB-00DA4DC446C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6529581-C19E-41D2-8AA2-FD5DF51DD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32433" y="6597605"/>
            <a:ext cx="441146" cy="150041"/>
          </a:xfrm>
        </p:spPr>
        <p:txBody>
          <a:bodyPr/>
          <a:lstStyle/>
          <a:p>
            <a:fld id="{427243C3-5470-BF4A-BC36-1F6B60598985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729113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Opsomming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07;p26">
            <a:extLst>
              <a:ext uri="{FF2B5EF4-FFF2-40B4-BE49-F238E27FC236}">
                <a16:creationId xmlns:a16="http://schemas.microsoft.com/office/drawing/2014/main" id="{C2071089-F855-CF4A-AC51-F672920D473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6956664" y="5557780"/>
            <a:ext cx="674341" cy="923245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14;p3">
            <a:extLst>
              <a:ext uri="{FF2B5EF4-FFF2-40B4-BE49-F238E27FC236}">
                <a16:creationId xmlns:a16="http://schemas.microsoft.com/office/drawing/2014/main" id="{691C0DDC-F0A7-EF49-B8E2-59A30DCE77F2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 rot="20002987">
            <a:off x="8528476" y="5701397"/>
            <a:ext cx="1087530" cy="3619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16;p3">
            <a:extLst>
              <a:ext uri="{FF2B5EF4-FFF2-40B4-BE49-F238E27FC236}">
                <a16:creationId xmlns:a16="http://schemas.microsoft.com/office/drawing/2014/main" id="{25B018BF-188B-8348-B32C-6D5C63DD99D3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7856751" y="5717372"/>
            <a:ext cx="663480" cy="763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15;p3">
            <a:extLst>
              <a:ext uri="{FF2B5EF4-FFF2-40B4-BE49-F238E27FC236}">
                <a16:creationId xmlns:a16="http://schemas.microsoft.com/office/drawing/2014/main" id="{47E6F787-0243-274C-9776-A5F1058C734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275850" y="504043"/>
            <a:ext cx="1263923" cy="15555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2259258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somming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07;p26">
            <a:extLst>
              <a:ext uri="{FF2B5EF4-FFF2-40B4-BE49-F238E27FC236}">
                <a16:creationId xmlns:a16="http://schemas.microsoft.com/office/drawing/2014/main" id="{C2071089-F855-CF4A-AC51-F672920D473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6956664" y="5557780"/>
            <a:ext cx="674341" cy="923245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14;p3">
            <a:extLst>
              <a:ext uri="{FF2B5EF4-FFF2-40B4-BE49-F238E27FC236}">
                <a16:creationId xmlns:a16="http://schemas.microsoft.com/office/drawing/2014/main" id="{691C0DDC-F0A7-EF49-B8E2-59A30DCE77F2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 rot="20002987">
            <a:off x="8528476" y="5701397"/>
            <a:ext cx="1087530" cy="3619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16;p3">
            <a:extLst>
              <a:ext uri="{FF2B5EF4-FFF2-40B4-BE49-F238E27FC236}">
                <a16:creationId xmlns:a16="http://schemas.microsoft.com/office/drawing/2014/main" id="{25B018BF-188B-8348-B32C-6D5C63DD99D3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7856751" y="5717372"/>
            <a:ext cx="663480" cy="763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15;p3">
            <a:extLst>
              <a:ext uri="{FF2B5EF4-FFF2-40B4-BE49-F238E27FC236}">
                <a16:creationId xmlns:a16="http://schemas.microsoft.com/office/drawing/2014/main" id="{47E6F787-0243-274C-9776-A5F1058C734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275850" y="504043"/>
            <a:ext cx="1263923" cy="15555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ep 6">
            <a:extLst>
              <a:ext uri="{FF2B5EF4-FFF2-40B4-BE49-F238E27FC236}">
                <a16:creationId xmlns:a16="http://schemas.microsoft.com/office/drawing/2014/main" id="{39125F31-5041-1545-B17A-0226A3C7034B}"/>
              </a:ext>
            </a:extLst>
          </p:cNvPr>
          <p:cNvGrpSpPr/>
          <p:nvPr userDrawn="1"/>
        </p:nvGrpSpPr>
        <p:grpSpPr>
          <a:xfrm rot="337859">
            <a:off x="7771293" y="2316334"/>
            <a:ext cx="2384093" cy="2934268"/>
            <a:chOff x="4465093" y="4377140"/>
            <a:chExt cx="2934268" cy="2934268"/>
          </a:xfrm>
        </p:grpSpPr>
        <p:sp>
          <p:nvSpPr>
            <p:cNvPr id="8" name="Ovaal 7">
              <a:extLst>
                <a:ext uri="{FF2B5EF4-FFF2-40B4-BE49-F238E27FC236}">
                  <a16:creationId xmlns:a16="http://schemas.microsoft.com/office/drawing/2014/main" id="{D9C6DBC8-38BA-9B44-9503-1A9212C87521}"/>
                </a:ext>
              </a:extLst>
            </p:cNvPr>
            <p:cNvSpPr/>
            <p:nvPr/>
          </p:nvSpPr>
          <p:spPr>
            <a:xfrm>
              <a:off x="4465093" y="4377140"/>
              <a:ext cx="2934268" cy="29342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sz="2700" dirty="0">
                <a:solidFill>
                  <a:schemeClr val="tx1"/>
                </a:solidFill>
              </a:endParaRPr>
            </a:p>
          </p:txBody>
        </p:sp>
        <p:pic>
          <p:nvPicPr>
            <p:cNvPr id="9" name="watch.png" descr="watch.png">
              <a:extLst>
                <a:ext uri="{FF2B5EF4-FFF2-40B4-BE49-F238E27FC236}">
                  <a16:creationId xmlns:a16="http://schemas.microsoft.com/office/drawing/2014/main" id="{117A51C8-A7DD-0443-A54A-2119161497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0301" y="4601142"/>
              <a:ext cx="1362493" cy="13624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2" name="Tekstvak 11">
            <a:extLst>
              <a:ext uri="{FF2B5EF4-FFF2-40B4-BE49-F238E27FC236}">
                <a16:creationId xmlns:a16="http://schemas.microsoft.com/office/drawing/2014/main" id="{8C0BF6F1-DA1A-4640-851A-E260CAEE58AB}"/>
              </a:ext>
            </a:extLst>
          </p:cNvPr>
          <p:cNvSpPr txBox="1"/>
          <p:nvPr userDrawn="1"/>
        </p:nvSpPr>
        <p:spPr>
          <a:xfrm rot="437712">
            <a:off x="8169599" y="4083143"/>
            <a:ext cx="482824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NL" sz="2700" dirty="0"/>
              <a:t>±</a:t>
            </a:r>
            <a:endParaRPr lang="nl-NL" sz="1200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1A805C7C-B3D0-F845-BDBA-FC4A8D9035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399074">
            <a:off x="8641345" y="4216736"/>
            <a:ext cx="649450" cy="373949"/>
          </a:xfrm>
        </p:spPr>
        <p:txBody>
          <a:bodyPr/>
          <a:lstStyle>
            <a:lvl1pPr>
              <a:defRPr sz="2700"/>
            </a:lvl1pPr>
          </a:lstStyle>
          <a:p>
            <a:r>
              <a:rPr lang="nl-NL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51989027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6529581-C19E-41D2-8AA2-FD5DF51DD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32429" y="6597598"/>
            <a:ext cx="441146" cy="150041"/>
          </a:xfrm>
        </p:spPr>
        <p:txBody>
          <a:bodyPr/>
          <a:lstStyle/>
          <a:p>
            <a:fld id="{5BFDD960-BBC1-46DD-B2F4-03916D4C47BC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19AF53B-F9FB-422F-B01E-441ED3ADD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952" y="527565"/>
            <a:ext cx="8981182" cy="49859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nl-NL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36A10DE5-776C-42C3-B419-1B44FA93E9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952" y="1376363"/>
            <a:ext cx="8981182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Backspace om </a:t>
            </a:r>
            <a:r>
              <a:rPr lang="nl-NL" err="1"/>
              <a:t>bullet</a:t>
            </a:r>
            <a:r>
              <a:rPr lang="nl-NL"/>
              <a:t> te verwijder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080814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886716"/>
            <a:ext cx="8420100" cy="623248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7"/>
            <a:ext cx="74295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20" indent="0" algn="ctr">
              <a:buNone/>
              <a:defRPr sz="1500"/>
            </a:lvl2pPr>
            <a:lvl3pPr marL="685839" indent="0" algn="ctr">
              <a:buNone/>
              <a:defRPr sz="1350"/>
            </a:lvl3pPr>
            <a:lvl4pPr marL="1028758" indent="0" algn="ctr">
              <a:buNone/>
              <a:defRPr sz="1200"/>
            </a:lvl4pPr>
            <a:lvl5pPr marL="1371679" indent="0" algn="ctr">
              <a:buNone/>
              <a:defRPr sz="1200"/>
            </a:lvl5pPr>
            <a:lvl6pPr marL="1714598" indent="0" algn="ctr">
              <a:buNone/>
              <a:defRPr sz="1200"/>
            </a:lvl6pPr>
            <a:lvl7pPr marL="2057517" indent="0" algn="ctr">
              <a:buNone/>
              <a:defRPr sz="1200"/>
            </a:lvl7pPr>
            <a:lvl8pPr marL="2400436" indent="0" algn="ctr">
              <a:buNone/>
              <a:defRPr sz="1200"/>
            </a:lvl8pPr>
            <a:lvl9pPr marL="2743356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812D79-3B96-CD40-815D-BF8901BD252E}" type="datetimeFigureOut">
              <a:rPr lang="nl-NL" smtClean="0"/>
              <a:t>31-05-202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32429" y="6597598"/>
            <a:ext cx="441146" cy="150041"/>
          </a:xfrm>
        </p:spPr>
        <p:txBody>
          <a:bodyPr/>
          <a:lstStyle/>
          <a:p>
            <a:fld id="{C3E465A1-246B-5145-89AE-5E8C3402499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865039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Alleen tite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Klik om stijl te bewerken"/>
          <p:cNvSpPr txBox="1">
            <a:spLocks noGrp="1"/>
          </p:cNvSpPr>
          <p:nvPr>
            <p:ph type="title" hasCustomPrompt="1"/>
          </p:nvPr>
        </p:nvSpPr>
        <p:spPr>
          <a:xfrm>
            <a:off x="389537" y="366398"/>
            <a:ext cx="9184978" cy="498598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33">
              <a:lnSpc>
                <a:spcPct val="90000"/>
              </a:lnSpc>
              <a:defRPr sz="3600"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r>
              <a:t>Klik om stijl te bewerken</a:t>
            </a:r>
          </a:p>
        </p:txBody>
      </p:sp>
      <p:sp>
        <p:nvSpPr>
          <p:cNvPr id="429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4705982" y="6572592"/>
            <a:ext cx="494046" cy="20005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30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283761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p zw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5C82F47-DC58-489F-BBD7-7FC9F55C12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745620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5C82F47-DC58-489F-BBD7-7FC9F55C1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FEB60C-604D-41CE-8A0C-9392F4B2AD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4952" y="532179"/>
            <a:ext cx="8981182" cy="4985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6529581-C19E-41D2-8AA2-FD5DF51DD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32429" y="6597598"/>
            <a:ext cx="441146" cy="1500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FDD960-BBC1-46DD-B2F4-03916D4C47BC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0FD727E-FD36-4D39-8575-2411323242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Backspace om bullet te verwijder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156313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nnenlij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110248-125B-42D2-815E-4551BB482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2575950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110248-125B-42D2-815E-4551BB482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22BB31-ABDD-43E1-BA86-01607F4970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Bronnenlijst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CD0FF3E3-3B5E-4E17-9C66-6E3ED4EC2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32429" y="6597598"/>
            <a:ext cx="441146" cy="150041"/>
          </a:xfrm>
        </p:spPr>
        <p:txBody>
          <a:bodyPr/>
          <a:lstStyle/>
          <a:p>
            <a:fld id="{5BFDD960-BBC1-46DD-B2F4-03916D4C47BC}" type="slidenum">
              <a:rPr lang="nl-NL" smtClean="0"/>
              <a:t>‹#›</a:t>
            </a:fld>
            <a:endParaRPr lang="nl-NL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8E631A9-6CEA-48D3-8460-A4FE9A4981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952" y="1371603"/>
            <a:ext cx="8981182" cy="4608512"/>
          </a:xfrm>
        </p:spPr>
        <p:txBody>
          <a:bodyPr numCol="2" spcCol="540000">
            <a:normAutofit/>
          </a:bodyPr>
          <a:lstStyle>
            <a:lvl1pPr marL="67868" indent="-67868">
              <a:lnSpc>
                <a:spcPct val="112000"/>
              </a:lnSpc>
              <a:defRPr lang="en-GB" sz="675" b="0" i="0" smtClean="0">
                <a:effectLst/>
              </a:defRPr>
            </a:lvl1pPr>
            <a:lvl2pPr marL="135736" indent="-67868">
              <a:lnSpc>
                <a:spcPct val="112000"/>
              </a:lnSpc>
              <a:defRPr sz="675"/>
            </a:lvl2pPr>
            <a:lvl3pPr marL="200032" indent="-64296">
              <a:lnSpc>
                <a:spcPct val="112000"/>
              </a:lnSpc>
              <a:defRPr sz="675"/>
            </a:lvl3pPr>
            <a:lvl4pPr marL="267901" indent="-67868">
              <a:lnSpc>
                <a:spcPct val="112000"/>
              </a:lnSpc>
              <a:defRPr sz="675"/>
            </a:lvl4pPr>
            <a:lvl5pPr marL="335769" indent="-67868">
              <a:lnSpc>
                <a:spcPct val="112000"/>
              </a:lnSpc>
              <a:defRPr sz="675"/>
            </a:lvl5pPr>
          </a:lstStyle>
          <a:p>
            <a:pPr lvl="0"/>
            <a:r>
              <a:rPr lang="nl-NL"/>
              <a:t>Tekst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13218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aflop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3D886ACC-4900-42EE-A9EF-796C2DFD66E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906000" cy="6858000"/>
          </a:xfrm>
          <a:solidFill>
            <a:schemeClr val="bg1">
              <a:lumMod val="95000"/>
            </a:schemeClr>
          </a:solidFill>
          <a:ln w="47625">
            <a:noFill/>
          </a:ln>
        </p:spPr>
        <p:txBody>
          <a:bodyPr bIns="720000" anchor="ctr" anchorCtr="0"/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KLIK OP HET PICTOGRAM OM EEN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95947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ekst (geel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6">
            <a:extLst>
              <a:ext uri="{FF2B5EF4-FFF2-40B4-BE49-F238E27FC236}">
                <a16:creationId xmlns:a16="http://schemas.microsoft.com/office/drawing/2014/main" id="{4EE72FFE-2ACD-44B1-85E0-F83A17BBA6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79178" y="623316"/>
            <a:ext cx="7547649" cy="5593080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2262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Vrije vorm: vorm 29">
            <a:extLst>
              <a:ext uri="{FF2B5EF4-FFF2-40B4-BE49-F238E27FC236}">
                <a16:creationId xmlns:a16="http://schemas.microsoft.com/office/drawing/2014/main" id="{D66DEA45-9483-4C0C-AB4E-EA9046E8AFBB}"/>
              </a:ext>
            </a:extLst>
          </p:cNvPr>
          <p:cNvSpPr/>
          <p:nvPr userDrawn="1"/>
        </p:nvSpPr>
        <p:spPr>
          <a:xfrm flipH="1" flipV="1">
            <a:off x="1102408" y="5932381"/>
            <a:ext cx="312497" cy="384811"/>
          </a:xfrm>
          <a:custGeom>
            <a:avLst/>
            <a:gdLst>
              <a:gd name="connsiteX0" fmla="*/ 6853269 w 6853374"/>
              <a:gd name="connsiteY0" fmla="*/ 3450117 h 6856926"/>
              <a:gd name="connsiteX1" fmla="*/ 6853106 w 6853374"/>
              <a:gd name="connsiteY1" fmla="*/ 6582612 h 6856926"/>
              <a:gd name="connsiteX2" fmla="*/ 6582577 w 6853374"/>
              <a:gd name="connsiteY2" fmla="*/ 6856583 h 6856926"/>
              <a:gd name="connsiteX3" fmla="*/ 4673453 w 6853374"/>
              <a:gd name="connsiteY3" fmla="*/ 6856606 h 6856926"/>
              <a:gd name="connsiteX4" fmla="*/ 4395900 w 6853374"/>
              <a:gd name="connsiteY4" fmla="*/ 6569729 h 6856926"/>
              <a:gd name="connsiteX5" fmla="*/ 4395598 w 6853374"/>
              <a:gd name="connsiteY5" fmla="*/ 2768713 h 6856926"/>
              <a:gd name="connsiteX6" fmla="*/ 4082046 w 6853374"/>
              <a:gd name="connsiteY6" fmla="*/ 2455045 h 6856926"/>
              <a:gd name="connsiteX7" fmla="*/ 263798 w 6853374"/>
              <a:gd name="connsiteY7" fmla="*/ 2454882 h 6856926"/>
              <a:gd name="connsiteX8" fmla="*/ 2733 w 6853374"/>
              <a:gd name="connsiteY8" fmla="*/ 2194748 h 6856926"/>
              <a:gd name="connsiteX9" fmla="*/ 36 w 6853374"/>
              <a:gd name="connsiteY9" fmla="*/ 246508 h 6856926"/>
              <a:gd name="connsiteX10" fmla="*/ 245217 w 6853374"/>
              <a:gd name="connsiteY10" fmla="*/ 2 h 6856926"/>
              <a:gd name="connsiteX11" fmla="*/ 6602599 w 6853374"/>
              <a:gd name="connsiteY11" fmla="*/ 3071 h 6856926"/>
              <a:gd name="connsiteX12" fmla="*/ 6852990 w 6853374"/>
              <a:gd name="connsiteY12" fmla="*/ 260322 h 6856926"/>
              <a:gd name="connsiteX13" fmla="*/ 6853269 w 6853374"/>
              <a:gd name="connsiteY13" fmla="*/ 3450117 h 685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853374" h="6856926">
                <a:moveTo>
                  <a:pt x="6853269" y="3450117"/>
                </a:moveTo>
                <a:cubicBezTo>
                  <a:pt x="6853269" y="4494282"/>
                  <a:pt x="6853501" y="5538447"/>
                  <a:pt x="6853106" y="6582612"/>
                </a:cubicBezTo>
                <a:cubicBezTo>
                  <a:pt x="6853013" y="6838514"/>
                  <a:pt x="6835222" y="6856397"/>
                  <a:pt x="6582577" y="6856583"/>
                </a:cubicBezTo>
                <a:cubicBezTo>
                  <a:pt x="5946194" y="6857049"/>
                  <a:pt x="5309835" y="6857025"/>
                  <a:pt x="4673453" y="6856606"/>
                </a:cubicBezTo>
                <a:cubicBezTo>
                  <a:pt x="4414202" y="6856421"/>
                  <a:pt x="4395993" y="6838072"/>
                  <a:pt x="4395900" y="6569729"/>
                </a:cubicBezTo>
                <a:cubicBezTo>
                  <a:pt x="4395458" y="5302731"/>
                  <a:pt x="4395807" y="4035710"/>
                  <a:pt x="4395598" y="2768713"/>
                </a:cubicBezTo>
                <a:cubicBezTo>
                  <a:pt x="4395551" y="2473254"/>
                  <a:pt x="4377180" y="2455068"/>
                  <a:pt x="4082046" y="2455045"/>
                </a:cubicBezTo>
                <a:cubicBezTo>
                  <a:pt x="2809304" y="2454928"/>
                  <a:pt x="1536539" y="2455114"/>
                  <a:pt x="263798" y="2454882"/>
                </a:cubicBezTo>
                <a:cubicBezTo>
                  <a:pt x="20384" y="2454812"/>
                  <a:pt x="3036" y="2438208"/>
                  <a:pt x="2733" y="2194748"/>
                </a:cubicBezTo>
                <a:cubicBezTo>
                  <a:pt x="1989" y="1545319"/>
                  <a:pt x="6361" y="895867"/>
                  <a:pt x="36" y="246508"/>
                </a:cubicBezTo>
                <a:cubicBezTo>
                  <a:pt x="-1732" y="66419"/>
                  <a:pt x="61779" y="-371"/>
                  <a:pt x="245217" y="2"/>
                </a:cubicBezTo>
                <a:cubicBezTo>
                  <a:pt x="2364337" y="4257"/>
                  <a:pt x="4483480" y="2490"/>
                  <a:pt x="6602599" y="3071"/>
                </a:cubicBezTo>
                <a:cubicBezTo>
                  <a:pt x="6825642" y="3141"/>
                  <a:pt x="6852850" y="31606"/>
                  <a:pt x="6852990" y="260322"/>
                </a:cubicBezTo>
                <a:cubicBezTo>
                  <a:pt x="6853641" y="1323579"/>
                  <a:pt x="6853269" y="2386860"/>
                  <a:pt x="6853269" y="3450117"/>
                </a:cubicBezTo>
                <a:close/>
              </a:path>
            </a:pathLst>
          </a:custGeom>
          <a:solidFill>
            <a:schemeClr val="tx1"/>
          </a:solidFill>
          <a:ln w="2324" cap="flat">
            <a:noFill/>
            <a:prstDash val="solid"/>
            <a:miter/>
          </a:ln>
        </p:spPr>
        <p:txBody>
          <a:bodyPr rtlCol="0" anchor="ctr"/>
          <a:lstStyle/>
          <a:p>
            <a:endParaRPr lang="nl-NL" sz="1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A411B7-7F1D-4094-8578-139EBB51729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9533" y="5881903"/>
            <a:ext cx="1828042" cy="431057"/>
          </a:xfrm>
          <a:solidFill>
            <a:schemeClr val="tx1"/>
          </a:solidFill>
          <a:ln w="47625">
            <a:solidFill>
              <a:schemeClr val="tx1"/>
            </a:solidFill>
            <a:miter lim="800000"/>
          </a:ln>
        </p:spPr>
        <p:txBody>
          <a:bodyPr vert="horz" wrap="none" lIns="90000" tIns="108000" rIns="90000" bIns="72000" rtlCol="0" anchor="t" anchorCtr="0">
            <a:spAutoFit/>
          </a:bodyPr>
          <a:lstStyle>
            <a:lvl1pPr algn="l">
              <a:defRPr lang="en-GB"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/>
              <a:t>Titel afbeelding</a:t>
            </a:r>
          </a:p>
        </p:txBody>
      </p:sp>
      <p:sp>
        <p:nvSpPr>
          <p:cNvPr id="48" name="Tijdelijke aanduiding voor tekst 47">
            <a:extLst>
              <a:ext uri="{FF2B5EF4-FFF2-40B4-BE49-F238E27FC236}">
                <a16:creationId xmlns:a16="http://schemas.microsoft.com/office/drawing/2014/main" id="{C9175D8D-6640-4B4E-92DC-3A315E8FC53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02405" y="542924"/>
            <a:ext cx="312975" cy="3852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9" name="Tijdelijke aanduiding voor tekst 47">
            <a:extLst>
              <a:ext uri="{FF2B5EF4-FFF2-40B4-BE49-F238E27FC236}">
                <a16:creationId xmlns:a16="http://schemas.microsoft.com/office/drawing/2014/main" id="{877EC578-D354-4351-9424-92740817E4E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496861" y="542924"/>
            <a:ext cx="312975" cy="385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0" name="Tijdelijke aanduiding voor tekst 47">
            <a:extLst>
              <a:ext uri="{FF2B5EF4-FFF2-40B4-BE49-F238E27FC236}">
                <a16:creationId xmlns:a16="http://schemas.microsoft.com/office/drawing/2014/main" id="{A7179339-7E87-461F-846F-C9F0577029A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496861" y="5931992"/>
            <a:ext cx="312975" cy="38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74" name="Tijdelijke aanduiding voor dianummer 73">
            <a:extLst>
              <a:ext uri="{FF2B5EF4-FFF2-40B4-BE49-F238E27FC236}">
                <a16:creationId xmlns:a16="http://schemas.microsoft.com/office/drawing/2014/main" id="{1C60544A-1D65-453A-9254-B877D47F5F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FDD960-BBC1-46DD-B2F4-03916D4C47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2011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ekst (pepermu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6">
            <a:extLst>
              <a:ext uri="{FF2B5EF4-FFF2-40B4-BE49-F238E27FC236}">
                <a16:creationId xmlns:a16="http://schemas.microsoft.com/office/drawing/2014/main" id="{4EE72FFE-2ACD-44B1-85E0-F83A17BBA6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79178" y="623316"/>
            <a:ext cx="7547649" cy="5593080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083686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Vrije vorm: vorm 29">
            <a:extLst>
              <a:ext uri="{FF2B5EF4-FFF2-40B4-BE49-F238E27FC236}">
                <a16:creationId xmlns:a16="http://schemas.microsoft.com/office/drawing/2014/main" id="{D66DEA45-9483-4C0C-AB4E-EA9046E8AFBB}"/>
              </a:ext>
            </a:extLst>
          </p:cNvPr>
          <p:cNvSpPr/>
          <p:nvPr userDrawn="1"/>
        </p:nvSpPr>
        <p:spPr>
          <a:xfrm flipH="1" flipV="1">
            <a:off x="1102408" y="5932381"/>
            <a:ext cx="312497" cy="384811"/>
          </a:xfrm>
          <a:custGeom>
            <a:avLst/>
            <a:gdLst>
              <a:gd name="connsiteX0" fmla="*/ 6853269 w 6853374"/>
              <a:gd name="connsiteY0" fmla="*/ 3450117 h 6856926"/>
              <a:gd name="connsiteX1" fmla="*/ 6853106 w 6853374"/>
              <a:gd name="connsiteY1" fmla="*/ 6582612 h 6856926"/>
              <a:gd name="connsiteX2" fmla="*/ 6582577 w 6853374"/>
              <a:gd name="connsiteY2" fmla="*/ 6856583 h 6856926"/>
              <a:gd name="connsiteX3" fmla="*/ 4673453 w 6853374"/>
              <a:gd name="connsiteY3" fmla="*/ 6856606 h 6856926"/>
              <a:gd name="connsiteX4" fmla="*/ 4395900 w 6853374"/>
              <a:gd name="connsiteY4" fmla="*/ 6569729 h 6856926"/>
              <a:gd name="connsiteX5" fmla="*/ 4395598 w 6853374"/>
              <a:gd name="connsiteY5" fmla="*/ 2768713 h 6856926"/>
              <a:gd name="connsiteX6" fmla="*/ 4082046 w 6853374"/>
              <a:gd name="connsiteY6" fmla="*/ 2455045 h 6856926"/>
              <a:gd name="connsiteX7" fmla="*/ 263798 w 6853374"/>
              <a:gd name="connsiteY7" fmla="*/ 2454882 h 6856926"/>
              <a:gd name="connsiteX8" fmla="*/ 2733 w 6853374"/>
              <a:gd name="connsiteY8" fmla="*/ 2194748 h 6856926"/>
              <a:gd name="connsiteX9" fmla="*/ 36 w 6853374"/>
              <a:gd name="connsiteY9" fmla="*/ 246508 h 6856926"/>
              <a:gd name="connsiteX10" fmla="*/ 245217 w 6853374"/>
              <a:gd name="connsiteY10" fmla="*/ 2 h 6856926"/>
              <a:gd name="connsiteX11" fmla="*/ 6602599 w 6853374"/>
              <a:gd name="connsiteY11" fmla="*/ 3071 h 6856926"/>
              <a:gd name="connsiteX12" fmla="*/ 6852990 w 6853374"/>
              <a:gd name="connsiteY12" fmla="*/ 260322 h 6856926"/>
              <a:gd name="connsiteX13" fmla="*/ 6853269 w 6853374"/>
              <a:gd name="connsiteY13" fmla="*/ 3450117 h 685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853374" h="6856926">
                <a:moveTo>
                  <a:pt x="6853269" y="3450117"/>
                </a:moveTo>
                <a:cubicBezTo>
                  <a:pt x="6853269" y="4494282"/>
                  <a:pt x="6853501" y="5538447"/>
                  <a:pt x="6853106" y="6582612"/>
                </a:cubicBezTo>
                <a:cubicBezTo>
                  <a:pt x="6853013" y="6838514"/>
                  <a:pt x="6835222" y="6856397"/>
                  <a:pt x="6582577" y="6856583"/>
                </a:cubicBezTo>
                <a:cubicBezTo>
                  <a:pt x="5946194" y="6857049"/>
                  <a:pt x="5309835" y="6857025"/>
                  <a:pt x="4673453" y="6856606"/>
                </a:cubicBezTo>
                <a:cubicBezTo>
                  <a:pt x="4414202" y="6856421"/>
                  <a:pt x="4395993" y="6838072"/>
                  <a:pt x="4395900" y="6569729"/>
                </a:cubicBezTo>
                <a:cubicBezTo>
                  <a:pt x="4395458" y="5302731"/>
                  <a:pt x="4395807" y="4035710"/>
                  <a:pt x="4395598" y="2768713"/>
                </a:cubicBezTo>
                <a:cubicBezTo>
                  <a:pt x="4395551" y="2473254"/>
                  <a:pt x="4377180" y="2455068"/>
                  <a:pt x="4082046" y="2455045"/>
                </a:cubicBezTo>
                <a:cubicBezTo>
                  <a:pt x="2809304" y="2454928"/>
                  <a:pt x="1536539" y="2455114"/>
                  <a:pt x="263798" y="2454882"/>
                </a:cubicBezTo>
                <a:cubicBezTo>
                  <a:pt x="20384" y="2454812"/>
                  <a:pt x="3036" y="2438208"/>
                  <a:pt x="2733" y="2194748"/>
                </a:cubicBezTo>
                <a:cubicBezTo>
                  <a:pt x="1989" y="1545319"/>
                  <a:pt x="6361" y="895867"/>
                  <a:pt x="36" y="246508"/>
                </a:cubicBezTo>
                <a:cubicBezTo>
                  <a:pt x="-1732" y="66419"/>
                  <a:pt x="61779" y="-371"/>
                  <a:pt x="245217" y="2"/>
                </a:cubicBezTo>
                <a:cubicBezTo>
                  <a:pt x="2364337" y="4257"/>
                  <a:pt x="4483480" y="2490"/>
                  <a:pt x="6602599" y="3071"/>
                </a:cubicBezTo>
                <a:cubicBezTo>
                  <a:pt x="6825642" y="3141"/>
                  <a:pt x="6852850" y="31606"/>
                  <a:pt x="6852990" y="260322"/>
                </a:cubicBezTo>
                <a:cubicBezTo>
                  <a:pt x="6853641" y="1323579"/>
                  <a:pt x="6853269" y="2386860"/>
                  <a:pt x="6853269" y="3450117"/>
                </a:cubicBezTo>
                <a:close/>
              </a:path>
            </a:pathLst>
          </a:custGeom>
          <a:solidFill>
            <a:schemeClr val="tx1"/>
          </a:solidFill>
          <a:ln w="2324" cap="flat">
            <a:noFill/>
            <a:prstDash val="solid"/>
            <a:miter/>
          </a:ln>
        </p:spPr>
        <p:txBody>
          <a:bodyPr rtlCol="0" anchor="ctr"/>
          <a:lstStyle/>
          <a:p>
            <a:endParaRPr lang="nl-NL" sz="1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A411B7-7F1D-4094-8578-139EBB51729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9533" y="5881903"/>
            <a:ext cx="1828042" cy="431057"/>
          </a:xfrm>
          <a:solidFill>
            <a:schemeClr val="tx1"/>
          </a:solidFill>
          <a:ln w="47625">
            <a:solidFill>
              <a:schemeClr val="tx1"/>
            </a:solidFill>
            <a:miter lim="800000"/>
          </a:ln>
        </p:spPr>
        <p:txBody>
          <a:bodyPr vert="horz" wrap="none" lIns="90000" tIns="108000" rIns="90000" bIns="72000" rtlCol="0" anchor="t" anchorCtr="0">
            <a:spAutoFit/>
          </a:bodyPr>
          <a:lstStyle>
            <a:lvl1pPr algn="l">
              <a:defRPr lang="en-GB"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/>
              <a:t>Titel afbeelding</a:t>
            </a:r>
          </a:p>
        </p:txBody>
      </p:sp>
      <p:sp>
        <p:nvSpPr>
          <p:cNvPr id="48" name="Tijdelijke aanduiding voor tekst 47">
            <a:extLst>
              <a:ext uri="{FF2B5EF4-FFF2-40B4-BE49-F238E27FC236}">
                <a16:creationId xmlns:a16="http://schemas.microsoft.com/office/drawing/2014/main" id="{C9175D8D-6640-4B4E-92DC-3A315E8FC53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02405" y="542924"/>
            <a:ext cx="312975" cy="3852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9" name="Tijdelijke aanduiding voor tekst 47">
            <a:extLst>
              <a:ext uri="{FF2B5EF4-FFF2-40B4-BE49-F238E27FC236}">
                <a16:creationId xmlns:a16="http://schemas.microsoft.com/office/drawing/2014/main" id="{877EC578-D354-4351-9424-92740817E4E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496861" y="542924"/>
            <a:ext cx="312975" cy="385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0" name="Tijdelijke aanduiding voor tekst 47">
            <a:extLst>
              <a:ext uri="{FF2B5EF4-FFF2-40B4-BE49-F238E27FC236}">
                <a16:creationId xmlns:a16="http://schemas.microsoft.com/office/drawing/2014/main" id="{A7179339-7E87-461F-846F-C9F0577029A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496861" y="5931992"/>
            <a:ext cx="312975" cy="38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74" name="Tijdelijke aanduiding voor dianummer 73">
            <a:extLst>
              <a:ext uri="{FF2B5EF4-FFF2-40B4-BE49-F238E27FC236}">
                <a16:creationId xmlns:a16="http://schemas.microsoft.com/office/drawing/2014/main" id="{1C60544A-1D65-453A-9254-B877D47F5F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FDD960-BBC1-46DD-B2F4-03916D4C47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34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ekst (lavendel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6">
            <a:extLst>
              <a:ext uri="{FF2B5EF4-FFF2-40B4-BE49-F238E27FC236}">
                <a16:creationId xmlns:a16="http://schemas.microsoft.com/office/drawing/2014/main" id="{4EE72FFE-2ACD-44B1-85E0-F83A17BBA6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79178" y="623316"/>
            <a:ext cx="7547649" cy="5593080"/>
          </a:xfrm>
          <a:solidFill>
            <a:schemeClr val="bg1"/>
          </a:solidFill>
          <a:ln w="31750">
            <a:solidFill>
              <a:schemeClr val="tx1"/>
            </a:solidFill>
          </a:ln>
        </p:spPr>
        <p:txBody>
          <a:bodyPr bIns="720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900" cap="all" baseline="0"/>
            </a:lvl1pPr>
          </a:lstStyle>
          <a:p>
            <a:r>
              <a:rPr lang="nl-NL"/>
              <a:t>Klik op het PICTOGRAM om een afbeelding in te voege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701B8E-CAB3-431B-A994-C7CD4B0A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023112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701B8E-CAB3-431B-A994-C7CD4B0A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Vrije vorm: vorm 29">
            <a:extLst>
              <a:ext uri="{FF2B5EF4-FFF2-40B4-BE49-F238E27FC236}">
                <a16:creationId xmlns:a16="http://schemas.microsoft.com/office/drawing/2014/main" id="{D66DEA45-9483-4C0C-AB4E-EA9046E8AFBB}"/>
              </a:ext>
            </a:extLst>
          </p:cNvPr>
          <p:cNvSpPr/>
          <p:nvPr userDrawn="1"/>
        </p:nvSpPr>
        <p:spPr>
          <a:xfrm flipH="1" flipV="1">
            <a:off x="1102408" y="5932381"/>
            <a:ext cx="312497" cy="384811"/>
          </a:xfrm>
          <a:custGeom>
            <a:avLst/>
            <a:gdLst>
              <a:gd name="connsiteX0" fmla="*/ 6853269 w 6853374"/>
              <a:gd name="connsiteY0" fmla="*/ 3450117 h 6856926"/>
              <a:gd name="connsiteX1" fmla="*/ 6853106 w 6853374"/>
              <a:gd name="connsiteY1" fmla="*/ 6582612 h 6856926"/>
              <a:gd name="connsiteX2" fmla="*/ 6582577 w 6853374"/>
              <a:gd name="connsiteY2" fmla="*/ 6856583 h 6856926"/>
              <a:gd name="connsiteX3" fmla="*/ 4673453 w 6853374"/>
              <a:gd name="connsiteY3" fmla="*/ 6856606 h 6856926"/>
              <a:gd name="connsiteX4" fmla="*/ 4395900 w 6853374"/>
              <a:gd name="connsiteY4" fmla="*/ 6569729 h 6856926"/>
              <a:gd name="connsiteX5" fmla="*/ 4395598 w 6853374"/>
              <a:gd name="connsiteY5" fmla="*/ 2768713 h 6856926"/>
              <a:gd name="connsiteX6" fmla="*/ 4082046 w 6853374"/>
              <a:gd name="connsiteY6" fmla="*/ 2455045 h 6856926"/>
              <a:gd name="connsiteX7" fmla="*/ 263798 w 6853374"/>
              <a:gd name="connsiteY7" fmla="*/ 2454882 h 6856926"/>
              <a:gd name="connsiteX8" fmla="*/ 2733 w 6853374"/>
              <a:gd name="connsiteY8" fmla="*/ 2194748 h 6856926"/>
              <a:gd name="connsiteX9" fmla="*/ 36 w 6853374"/>
              <a:gd name="connsiteY9" fmla="*/ 246508 h 6856926"/>
              <a:gd name="connsiteX10" fmla="*/ 245217 w 6853374"/>
              <a:gd name="connsiteY10" fmla="*/ 2 h 6856926"/>
              <a:gd name="connsiteX11" fmla="*/ 6602599 w 6853374"/>
              <a:gd name="connsiteY11" fmla="*/ 3071 h 6856926"/>
              <a:gd name="connsiteX12" fmla="*/ 6852990 w 6853374"/>
              <a:gd name="connsiteY12" fmla="*/ 260322 h 6856926"/>
              <a:gd name="connsiteX13" fmla="*/ 6853269 w 6853374"/>
              <a:gd name="connsiteY13" fmla="*/ 3450117 h 685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853374" h="6856926">
                <a:moveTo>
                  <a:pt x="6853269" y="3450117"/>
                </a:moveTo>
                <a:cubicBezTo>
                  <a:pt x="6853269" y="4494282"/>
                  <a:pt x="6853501" y="5538447"/>
                  <a:pt x="6853106" y="6582612"/>
                </a:cubicBezTo>
                <a:cubicBezTo>
                  <a:pt x="6853013" y="6838514"/>
                  <a:pt x="6835222" y="6856397"/>
                  <a:pt x="6582577" y="6856583"/>
                </a:cubicBezTo>
                <a:cubicBezTo>
                  <a:pt x="5946194" y="6857049"/>
                  <a:pt x="5309835" y="6857025"/>
                  <a:pt x="4673453" y="6856606"/>
                </a:cubicBezTo>
                <a:cubicBezTo>
                  <a:pt x="4414202" y="6856421"/>
                  <a:pt x="4395993" y="6838072"/>
                  <a:pt x="4395900" y="6569729"/>
                </a:cubicBezTo>
                <a:cubicBezTo>
                  <a:pt x="4395458" y="5302731"/>
                  <a:pt x="4395807" y="4035710"/>
                  <a:pt x="4395598" y="2768713"/>
                </a:cubicBezTo>
                <a:cubicBezTo>
                  <a:pt x="4395551" y="2473254"/>
                  <a:pt x="4377180" y="2455068"/>
                  <a:pt x="4082046" y="2455045"/>
                </a:cubicBezTo>
                <a:cubicBezTo>
                  <a:pt x="2809304" y="2454928"/>
                  <a:pt x="1536539" y="2455114"/>
                  <a:pt x="263798" y="2454882"/>
                </a:cubicBezTo>
                <a:cubicBezTo>
                  <a:pt x="20384" y="2454812"/>
                  <a:pt x="3036" y="2438208"/>
                  <a:pt x="2733" y="2194748"/>
                </a:cubicBezTo>
                <a:cubicBezTo>
                  <a:pt x="1989" y="1545319"/>
                  <a:pt x="6361" y="895867"/>
                  <a:pt x="36" y="246508"/>
                </a:cubicBezTo>
                <a:cubicBezTo>
                  <a:pt x="-1732" y="66419"/>
                  <a:pt x="61779" y="-371"/>
                  <a:pt x="245217" y="2"/>
                </a:cubicBezTo>
                <a:cubicBezTo>
                  <a:pt x="2364337" y="4257"/>
                  <a:pt x="4483480" y="2490"/>
                  <a:pt x="6602599" y="3071"/>
                </a:cubicBezTo>
                <a:cubicBezTo>
                  <a:pt x="6825642" y="3141"/>
                  <a:pt x="6852850" y="31606"/>
                  <a:pt x="6852990" y="260322"/>
                </a:cubicBezTo>
                <a:cubicBezTo>
                  <a:pt x="6853641" y="1323579"/>
                  <a:pt x="6853269" y="2386860"/>
                  <a:pt x="6853269" y="3450117"/>
                </a:cubicBezTo>
                <a:close/>
              </a:path>
            </a:pathLst>
          </a:custGeom>
          <a:solidFill>
            <a:schemeClr val="tx1"/>
          </a:solidFill>
          <a:ln w="2324" cap="flat">
            <a:noFill/>
            <a:prstDash val="solid"/>
            <a:miter/>
          </a:ln>
        </p:spPr>
        <p:txBody>
          <a:bodyPr rtlCol="0" anchor="ctr"/>
          <a:lstStyle/>
          <a:p>
            <a:endParaRPr lang="nl-NL" sz="12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A411B7-7F1D-4094-8578-139EBB51729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9533" y="5881903"/>
            <a:ext cx="1828042" cy="431057"/>
          </a:xfrm>
          <a:solidFill>
            <a:schemeClr val="tx1"/>
          </a:solidFill>
          <a:ln w="47625">
            <a:solidFill>
              <a:schemeClr val="tx1"/>
            </a:solidFill>
            <a:miter lim="800000"/>
          </a:ln>
        </p:spPr>
        <p:txBody>
          <a:bodyPr vert="horz" wrap="none" lIns="90000" tIns="108000" rIns="90000" bIns="72000" rtlCol="0" anchor="t" anchorCtr="0">
            <a:spAutoFit/>
          </a:bodyPr>
          <a:lstStyle>
            <a:lvl1pPr algn="l">
              <a:defRPr lang="en-GB"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/>
              <a:t>Titel afbeelding</a:t>
            </a:r>
          </a:p>
        </p:txBody>
      </p:sp>
      <p:sp>
        <p:nvSpPr>
          <p:cNvPr id="48" name="Tijdelijke aanduiding voor tekst 47">
            <a:extLst>
              <a:ext uri="{FF2B5EF4-FFF2-40B4-BE49-F238E27FC236}">
                <a16:creationId xmlns:a16="http://schemas.microsoft.com/office/drawing/2014/main" id="{C9175D8D-6640-4B4E-92DC-3A315E8FC530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02405" y="542924"/>
            <a:ext cx="312975" cy="3852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49" name="Tijdelijke aanduiding voor tekst 47">
            <a:extLst>
              <a:ext uri="{FF2B5EF4-FFF2-40B4-BE49-F238E27FC236}">
                <a16:creationId xmlns:a16="http://schemas.microsoft.com/office/drawing/2014/main" id="{877EC578-D354-4351-9424-92740817E4E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496861" y="542924"/>
            <a:ext cx="312975" cy="385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50" name="Tijdelijke aanduiding voor tekst 47">
            <a:extLst>
              <a:ext uri="{FF2B5EF4-FFF2-40B4-BE49-F238E27FC236}">
                <a16:creationId xmlns:a16="http://schemas.microsoft.com/office/drawing/2014/main" id="{A7179339-7E87-461F-846F-C9F0577029A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496861" y="5931992"/>
            <a:ext cx="312975" cy="38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74" name="Tijdelijke aanduiding voor dianummer 73">
            <a:extLst>
              <a:ext uri="{FF2B5EF4-FFF2-40B4-BE49-F238E27FC236}">
                <a16:creationId xmlns:a16="http://schemas.microsoft.com/office/drawing/2014/main" id="{1C60544A-1D65-453A-9254-B877D47F5F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FDD960-BBC1-46DD-B2F4-03916D4C47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8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A9BC720-C30D-4F94-98EB-42DE2F511C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419730190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38" imgH="337" progId="TCLayout.ActiveDocument.1">
                  <p:embed/>
                </p:oleObj>
              </mc:Choice>
              <mc:Fallback>
                <p:oleObj name="think-cell Slide" r:id="rId34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A9BC720-C30D-4F94-98EB-42DE2F51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0107C658-06D7-4DB7-98E6-E4A030EB2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954" y="532179"/>
            <a:ext cx="9184978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2CFECC7-2D27-4D1C-9217-75DBC06694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952" y="1376363"/>
            <a:ext cx="8981182" cy="46085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Backspace om </a:t>
            </a:r>
            <a:r>
              <a:rPr lang="nl-NL" err="1"/>
              <a:t>bullet</a:t>
            </a:r>
            <a:r>
              <a:rPr lang="nl-NL"/>
              <a:t> te verwijder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7A9C122-FFE5-4828-901D-04E4154C9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32429" y="6597598"/>
            <a:ext cx="441146" cy="15004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975">
                <a:solidFill>
                  <a:schemeClr val="tx1"/>
                </a:solidFill>
              </a:defRPr>
            </a:lvl1pPr>
          </a:lstStyle>
          <a:p>
            <a:fld id="{5BFDD960-BBC1-46DD-B2F4-03916D4C47B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859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2" r:id="rId1"/>
    <p:sldLayoutId id="2147484393" r:id="rId2"/>
    <p:sldLayoutId id="2147484394" r:id="rId3"/>
    <p:sldLayoutId id="2147484395" r:id="rId4"/>
    <p:sldLayoutId id="2147484396" r:id="rId5"/>
    <p:sldLayoutId id="2147484397" r:id="rId6"/>
    <p:sldLayoutId id="2147484398" r:id="rId7"/>
    <p:sldLayoutId id="2147484399" r:id="rId8"/>
    <p:sldLayoutId id="2147484400" r:id="rId9"/>
    <p:sldLayoutId id="2147484401" r:id="rId10"/>
    <p:sldLayoutId id="2147484402" r:id="rId11"/>
    <p:sldLayoutId id="2147484403" r:id="rId12"/>
    <p:sldLayoutId id="2147484404" r:id="rId13"/>
    <p:sldLayoutId id="2147484405" r:id="rId14"/>
    <p:sldLayoutId id="2147484406" r:id="rId15"/>
    <p:sldLayoutId id="2147484407" r:id="rId16"/>
    <p:sldLayoutId id="2147484408" r:id="rId17"/>
    <p:sldLayoutId id="2147484409" r:id="rId18"/>
    <p:sldLayoutId id="2147484410" r:id="rId19"/>
    <p:sldLayoutId id="2147484411" r:id="rId20"/>
    <p:sldLayoutId id="2147484412" r:id="rId21"/>
    <p:sldLayoutId id="2147484413" r:id="rId22"/>
    <p:sldLayoutId id="2147484414" r:id="rId23"/>
    <p:sldLayoutId id="2147484415" r:id="rId24"/>
    <p:sldLayoutId id="2147484416" r:id="rId25"/>
    <p:sldLayoutId id="2147484417" r:id="rId26"/>
    <p:sldLayoutId id="2147484418" r:id="rId27"/>
    <p:sldLayoutId id="2147484419" r:id="rId28"/>
    <p:sldLayoutId id="2147484420" r:id="rId29"/>
    <p:sldLayoutId id="2147484421" r:id="rId30"/>
    <p:sldLayoutId id="2147484427" r:id="rId31"/>
  </p:sldLayoutIdLst>
  <p:hf sldNum="0" hdr="0" ftr="0" dt="0"/>
  <p:txStyles>
    <p:titleStyle>
      <a:lvl1pPr algn="l" defTabSz="685825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2413" indent="-202413" algn="l" defTabSz="685825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019" indent="-203605" algn="l" defTabSz="685825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01288" indent="-195270" algn="l" defTabSz="685825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4893" indent="-203605" algn="l" defTabSz="685825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07306" indent="-202413" algn="l" defTabSz="685825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019" indent="-171457" algn="l" defTabSz="68582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32" indent="-171457" algn="l" defTabSz="68582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45" indent="-171457" algn="l" defTabSz="68582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57" indent="-171457" algn="l" defTabSz="68582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3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25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38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51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63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76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88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01" algn="l" defTabSz="68582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6" userDrawn="1">
          <p15:clr>
            <a:srgbClr val="F26B43"/>
          </p15:clr>
        </p15:guide>
        <p15:guide id="2" pos="475" userDrawn="1">
          <p15:clr>
            <a:srgbClr val="F26B43"/>
          </p15:clr>
        </p15:guide>
        <p15:guide id="3" pos="8018" userDrawn="1">
          <p15:clr>
            <a:srgbClr val="F26B43"/>
          </p15:clr>
        </p15:guide>
        <p15:guide id="4" orient="horz" pos="5027" userDrawn="1">
          <p15:clr>
            <a:srgbClr val="F26B43"/>
          </p15:clr>
        </p15:guide>
        <p15:guide id="5" pos="5437" userDrawn="1">
          <p15:clr>
            <a:srgbClr val="F26B43"/>
          </p15:clr>
        </p15:guide>
        <p15:guide id="6" orient="horz" pos="1005" userDrawn="1">
          <p15:clr>
            <a:srgbClr val="F26B43"/>
          </p15:clr>
        </p15:guide>
        <p15:guide id="8" orient="horz" pos="545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h.m.m.van.vliet@hva.nl" TargetMode="External"/><Relationship Id="rId3" Type="http://schemas.openxmlformats.org/officeDocument/2006/relationships/image" Target="../media/image27.png"/><Relationship Id="rId7" Type="http://schemas.openxmlformats.org/officeDocument/2006/relationships/image" Target="../media/image31.em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10" Type="http://schemas.openxmlformats.org/officeDocument/2006/relationships/hyperlink" Target="mailto:h.m.flux@hva.nl" TargetMode="External"/><Relationship Id="rId4" Type="http://schemas.openxmlformats.org/officeDocument/2006/relationships/image" Target="../media/image28.png"/><Relationship Id="rId9" Type="http://schemas.openxmlformats.org/officeDocument/2006/relationships/hyperlink" Target="mailto:r.p.m.logjes@hva.nl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2.png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2.png"/><Relationship Id="rId5" Type="http://schemas.openxmlformats.org/officeDocument/2006/relationships/image" Target="../media/image33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2.png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2.png"/><Relationship Id="rId5" Type="http://schemas.openxmlformats.org/officeDocument/2006/relationships/image" Target="../media/image33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2.png"/><Relationship Id="rId5" Type="http://schemas.openxmlformats.org/officeDocument/2006/relationships/image" Target="../media/image33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7.png"/><Relationship Id="rId21" Type="http://schemas.openxmlformats.org/officeDocument/2006/relationships/image" Target="../media/image52.png"/><Relationship Id="rId42" Type="http://schemas.openxmlformats.org/officeDocument/2006/relationships/image" Target="../media/image71.png"/><Relationship Id="rId47" Type="http://schemas.openxmlformats.org/officeDocument/2006/relationships/image" Target="../media/image75.png"/><Relationship Id="rId63" Type="http://schemas.openxmlformats.org/officeDocument/2006/relationships/image" Target="../media/image85.png"/><Relationship Id="rId68" Type="http://schemas.openxmlformats.org/officeDocument/2006/relationships/image" Target="../media/image89.png"/><Relationship Id="rId7" Type="http://schemas.openxmlformats.org/officeDocument/2006/relationships/image" Target="../media/image39.png"/><Relationship Id="rId71" Type="http://schemas.openxmlformats.org/officeDocument/2006/relationships/image" Target="../media/image19.emf"/><Relationship Id="rId2" Type="http://schemas.openxmlformats.org/officeDocument/2006/relationships/image" Target="../media/image34.png"/><Relationship Id="rId16" Type="http://schemas.openxmlformats.org/officeDocument/2006/relationships/image" Target="../media/image48.png"/><Relationship Id="rId29" Type="http://schemas.openxmlformats.org/officeDocument/2006/relationships/image" Target="../media/image60.png"/><Relationship Id="rId11" Type="http://schemas.openxmlformats.org/officeDocument/2006/relationships/image" Target="../media/image43.png"/><Relationship Id="rId24" Type="http://schemas.openxmlformats.org/officeDocument/2006/relationships/image" Target="../media/image55.png"/><Relationship Id="rId32" Type="http://schemas.openxmlformats.org/officeDocument/2006/relationships/image" Target="../media/image63.png"/><Relationship Id="rId37" Type="http://schemas.openxmlformats.org/officeDocument/2006/relationships/image" Target="../media/image15.png"/><Relationship Id="rId40" Type="http://schemas.openxmlformats.org/officeDocument/2006/relationships/image" Target="../media/image70.png"/><Relationship Id="rId45" Type="http://schemas.openxmlformats.org/officeDocument/2006/relationships/image" Target="../media/image74.png"/><Relationship Id="rId53" Type="http://schemas.openxmlformats.org/officeDocument/2006/relationships/image" Target="../media/image16.png"/><Relationship Id="rId58" Type="http://schemas.openxmlformats.org/officeDocument/2006/relationships/image" Target="../media/image82.png"/><Relationship Id="rId66" Type="http://schemas.openxmlformats.org/officeDocument/2006/relationships/image" Target="../media/image88.png"/><Relationship Id="rId5" Type="http://schemas.openxmlformats.org/officeDocument/2006/relationships/image" Target="../media/image37.png"/><Relationship Id="rId61" Type="http://schemas.openxmlformats.org/officeDocument/2006/relationships/image" Target="../media/image18.png"/><Relationship Id="rId19" Type="http://schemas.openxmlformats.org/officeDocument/2006/relationships/image" Target="../media/image51.png"/><Relationship Id="rId14" Type="http://schemas.openxmlformats.org/officeDocument/2006/relationships/image" Target="../media/image46.png"/><Relationship Id="rId22" Type="http://schemas.openxmlformats.org/officeDocument/2006/relationships/image" Target="../media/image53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35" Type="http://schemas.openxmlformats.org/officeDocument/2006/relationships/image" Target="../media/image66.png"/><Relationship Id="rId43" Type="http://schemas.openxmlformats.org/officeDocument/2006/relationships/image" Target="../media/image72.png"/><Relationship Id="rId48" Type="http://schemas.openxmlformats.org/officeDocument/2006/relationships/image" Target="../media/image12.png"/><Relationship Id="rId56" Type="http://schemas.openxmlformats.org/officeDocument/2006/relationships/image" Target="../media/image80.png"/><Relationship Id="rId64" Type="http://schemas.openxmlformats.org/officeDocument/2006/relationships/image" Target="../media/image86.png"/><Relationship Id="rId69" Type="http://schemas.openxmlformats.org/officeDocument/2006/relationships/image" Target="../media/image90.png"/><Relationship Id="rId8" Type="http://schemas.openxmlformats.org/officeDocument/2006/relationships/image" Target="../media/image40.png"/><Relationship Id="rId51" Type="http://schemas.openxmlformats.org/officeDocument/2006/relationships/image" Target="../media/image78.png"/><Relationship Id="rId3" Type="http://schemas.openxmlformats.org/officeDocument/2006/relationships/image" Target="../media/image35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5" Type="http://schemas.openxmlformats.org/officeDocument/2006/relationships/image" Target="../media/image56.png"/><Relationship Id="rId33" Type="http://schemas.openxmlformats.org/officeDocument/2006/relationships/image" Target="../media/image64.png"/><Relationship Id="rId38" Type="http://schemas.openxmlformats.org/officeDocument/2006/relationships/image" Target="../media/image68.png"/><Relationship Id="rId46" Type="http://schemas.openxmlformats.org/officeDocument/2006/relationships/image" Target="../media/image11.png"/><Relationship Id="rId59" Type="http://schemas.openxmlformats.org/officeDocument/2006/relationships/image" Target="../media/image17.png"/><Relationship Id="rId67" Type="http://schemas.openxmlformats.org/officeDocument/2006/relationships/image" Target="../media/image25.png"/><Relationship Id="rId20" Type="http://schemas.openxmlformats.org/officeDocument/2006/relationships/image" Target="../media/image32.png"/><Relationship Id="rId41" Type="http://schemas.openxmlformats.org/officeDocument/2006/relationships/image" Target="../media/image33.png"/><Relationship Id="rId54" Type="http://schemas.openxmlformats.org/officeDocument/2006/relationships/image" Target="../media/image14.png"/><Relationship Id="rId62" Type="http://schemas.openxmlformats.org/officeDocument/2006/relationships/image" Target="../media/image84.png"/><Relationship Id="rId70" Type="http://schemas.openxmlformats.org/officeDocument/2006/relationships/image" Target="../media/image91.sv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8.png"/><Relationship Id="rId15" Type="http://schemas.openxmlformats.org/officeDocument/2006/relationships/image" Target="../media/image47.png"/><Relationship Id="rId23" Type="http://schemas.openxmlformats.org/officeDocument/2006/relationships/image" Target="../media/image54.png"/><Relationship Id="rId28" Type="http://schemas.openxmlformats.org/officeDocument/2006/relationships/image" Target="../media/image59.png"/><Relationship Id="rId36" Type="http://schemas.openxmlformats.org/officeDocument/2006/relationships/image" Target="../media/image67.png"/><Relationship Id="rId49" Type="http://schemas.openxmlformats.org/officeDocument/2006/relationships/image" Target="../media/image76.png"/><Relationship Id="rId57" Type="http://schemas.openxmlformats.org/officeDocument/2006/relationships/image" Target="../media/image81.png"/><Relationship Id="rId10" Type="http://schemas.openxmlformats.org/officeDocument/2006/relationships/image" Target="../media/image42.png"/><Relationship Id="rId31" Type="http://schemas.openxmlformats.org/officeDocument/2006/relationships/image" Target="../media/image62.png"/><Relationship Id="rId44" Type="http://schemas.openxmlformats.org/officeDocument/2006/relationships/image" Target="../media/image73.png"/><Relationship Id="rId52" Type="http://schemas.openxmlformats.org/officeDocument/2006/relationships/image" Target="../media/image13.png"/><Relationship Id="rId60" Type="http://schemas.openxmlformats.org/officeDocument/2006/relationships/image" Target="../media/image83.png"/><Relationship Id="rId65" Type="http://schemas.openxmlformats.org/officeDocument/2006/relationships/image" Target="../media/image8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9" Type="http://schemas.openxmlformats.org/officeDocument/2006/relationships/image" Target="../media/image69.png"/><Relationship Id="rId34" Type="http://schemas.openxmlformats.org/officeDocument/2006/relationships/image" Target="../media/image65.png"/><Relationship Id="rId50" Type="http://schemas.openxmlformats.org/officeDocument/2006/relationships/image" Target="../media/image77.png"/><Relationship Id="rId55" Type="http://schemas.openxmlformats.org/officeDocument/2006/relationships/image" Target="../media/image7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1F88E-7E41-4BEA-1F1A-7778843AC8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50A9DF5C-9D1D-AB22-62AD-949D9FBA2AFA}"/>
              </a:ext>
            </a:extLst>
          </p:cNvPr>
          <p:cNvSpPr txBox="1"/>
          <p:nvPr/>
        </p:nvSpPr>
        <p:spPr>
          <a:xfrm>
            <a:off x="1417673" y="713055"/>
            <a:ext cx="3389501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>
                <a:solidFill>
                  <a:schemeClr val="bg1"/>
                </a:solidFill>
              </a:rPr>
              <a:t>Plan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F9601CF-F228-5C57-E05F-77A11722982E}"/>
              </a:ext>
            </a:extLst>
          </p:cNvPr>
          <p:cNvSpPr txBox="1"/>
          <p:nvPr/>
        </p:nvSpPr>
        <p:spPr>
          <a:xfrm>
            <a:off x="6180061" y="713055"/>
            <a:ext cx="3389403" cy="238363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txBody>
          <a:bodyPr wrap="square" lIns="0" tIns="0" rIns="0" bIns="0" rtlCol="0">
            <a:spAutoFit/>
          </a:bodyPr>
          <a:lstStyle>
            <a:defPPr marL="0" marR="0" indent="0" algn="l" defTabSz="107264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1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Evaluati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315CE55-05A9-92AC-84C5-B9FD3EC362BC}"/>
              </a:ext>
            </a:extLst>
          </p:cNvPr>
          <p:cNvGrpSpPr/>
          <p:nvPr/>
        </p:nvGrpSpPr>
        <p:grpSpPr>
          <a:xfrm>
            <a:off x="1417674" y="1001172"/>
            <a:ext cx="8151888" cy="5299892"/>
            <a:chOff x="616268" y="625642"/>
            <a:chExt cx="8648494" cy="562275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7AF5A46-4C49-D83C-7C15-FAB6D6DBAACD}"/>
                </a:ext>
              </a:extLst>
            </p:cNvPr>
            <p:cNvGrpSpPr/>
            <p:nvPr/>
          </p:nvGrpSpPr>
          <p:grpSpPr>
            <a:xfrm>
              <a:off x="1420586" y="766895"/>
              <a:ext cx="7021285" cy="4891304"/>
              <a:chOff x="756502" y="731492"/>
              <a:chExt cx="8340291" cy="5250700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78A28FC-92E2-E1D2-C1B2-B94E6C91E85A}"/>
                  </a:ext>
                </a:extLst>
              </p:cNvPr>
              <p:cNvGrpSpPr/>
              <p:nvPr/>
            </p:nvGrpSpPr>
            <p:grpSpPr>
              <a:xfrm>
                <a:off x="1284448" y="1659237"/>
                <a:ext cx="7343946" cy="4322955"/>
                <a:chOff x="5808919" y="494150"/>
                <a:chExt cx="2208231" cy="3086328"/>
              </a:xfrm>
              <a:solidFill>
                <a:schemeClr val="bg2">
                  <a:lumMod val="95000"/>
                </a:schemeClr>
              </a:solidFill>
            </p:grpSpPr>
            <p:sp>
              <p:nvSpPr>
                <p:cNvPr id="53" name="Round Same-side Corner of Rectangle 52">
                  <a:extLst>
                    <a:ext uri="{FF2B5EF4-FFF2-40B4-BE49-F238E27FC236}">
                      <a16:creationId xmlns:a16="http://schemas.microsoft.com/office/drawing/2014/main" id="{A1172B26-15C2-CF8D-CFB8-D99387B85B1D}"/>
                    </a:ext>
                  </a:extLst>
                </p:cNvPr>
                <p:cNvSpPr/>
                <p:nvPr/>
              </p:nvSpPr>
              <p:spPr>
                <a:xfrm rot="10800000">
                  <a:off x="5808919" y="494150"/>
                  <a:ext cx="2208231" cy="3086328"/>
                </a:xfrm>
                <a:prstGeom prst="round2SameRect">
                  <a:avLst>
                    <a:gd name="adj1" fmla="val 45567"/>
                    <a:gd name="adj2" fmla="val 0"/>
                  </a:avLst>
                </a:prstGeom>
                <a:solidFill>
                  <a:schemeClr val="bg2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endParaRPr lang="nl-NL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5" name="Round Same-side Corner of Rectangle 54">
                  <a:extLst>
                    <a:ext uri="{FF2B5EF4-FFF2-40B4-BE49-F238E27FC236}">
                      <a16:creationId xmlns:a16="http://schemas.microsoft.com/office/drawing/2014/main" id="{A10E33EB-8738-727A-BFA5-08A52970FDF1}"/>
                    </a:ext>
                  </a:extLst>
                </p:cNvPr>
                <p:cNvSpPr/>
                <p:nvPr/>
              </p:nvSpPr>
              <p:spPr>
                <a:xfrm rot="10800000">
                  <a:off x="6097163" y="494150"/>
                  <a:ext cx="1631742" cy="2397250"/>
                </a:xfrm>
                <a:prstGeom prst="round2SameRect">
                  <a:avLst>
                    <a:gd name="adj1" fmla="val 45567"/>
                    <a:gd name="adj2" fmla="val 0"/>
                  </a:avLst>
                </a:prstGeom>
                <a:solidFill>
                  <a:schemeClr val="bg2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endParaRPr lang="nl-NL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6" name="Round Same-side Corner of Rectangle 55">
                  <a:extLst>
                    <a:ext uri="{FF2B5EF4-FFF2-40B4-BE49-F238E27FC236}">
                      <a16:creationId xmlns:a16="http://schemas.microsoft.com/office/drawing/2014/main" id="{3CC09375-82D7-882C-4522-2DB90C6AE2E9}"/>
                    </a:ext>
                  </a:extLst>
                </p:cNvPr>
                <p:cNvSpPr/>
                <p:nvPr/>
              </p:nvSpPr>
              <p:spPr>
                <a:xfrm rot="10800000">
                  <a:off x="6208020" y="494150"/>
                  <a:ext cx="1410028" cy="2015476"/>
                </a:xfrm>
                <a:prstGeom prst="round2SameRect">
                  <a:avLst>
                    <a:gd name="adj1" fmla="val 45567"/>
                    <a:gd name="adj2" fmla="val 0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endParaRPr lang="nl-NL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" name="Triangle 2">
                <a:extLst>
                  <a:ext uri="{FF2B5EF4-FFF2-40B4-BE49-F238E27FC236}">
                    <a16:creationId xmlns:a16="http://schemas.microsoft.com/office/drawing/2014/main" id="{051825E2-C41D-7224-1E2F-42F40830E116}"/>
                  </a:ext>
                </a:extLst>
              </p:cNvPr>
              <p:cNvSpPr/>
              <p:nvPr/>
            </p:nvSpPr>
            <p:spPr>
              <a:xfrm>
                <a:off x="6742493" y="731492"/>
                <a:ext cx="2354300" cy="1154196"/>
              </a:xfrm>
              <a:prstGeom prst="triangle">
                <a:avLst/>
              </a:prstGeom>
              <a:solidFill>
                <a:schemeClr val="bg2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Triangle 6">
                <a:extLst>
                  <a:ext uri="{FF2B5EF4-FFF2-40B4-BE49-F238E27FC236}">
                    <a16:creationId xmlns:a16="http://schemas.microsoft.com/office/drawing/2014/main" id="{014FBFD0-0C71-641E-968D-D45DC9C08A4C}"/>
                  </a:ext>
                </a:extLst>
              </p:cNvPr>
              <p:cNvSpPr/>
              <p:nvPr/>
            </p:nvSpPr>
            <p:spPr>
              <a:xfrm rot="10800000">
                <a:off x="756502" y="1237117"/>
                <a:ext cx="2354300" cy="1154196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Triangle 5">
                <a:extLst>
                  <a:ext uri="{FF2B5EF4-FFF2-40B4-BE49-F238E27FC236}">
                    <a16:creationId xmlns:a16="http://schemas.microsoft.com/office/drawing/2014/main" id="{46E02CB1-8D19-9F89-7933-CE715886FEE5}"/>
                  </a:ext>
                </a:extLst>
              </p:cNvPr>
              <p:cNvSpPr/>
              <p:nvPr/>
            </p:nvSpPr>
            <p:spPr>
              <a:xfrm rot="10800000">
                <a:off x="778959" y="907690"/>
                <a:ext cx="2354300" cy="1154196"/>
              </a:xfrm>
              <a:prstGeom prst="triangle">
                <a:avLst/>
              </a:prstGeom>
              <a:solidFill>
                <a:schemeClr val="bg2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1713102-27AF-EF25-F897-17B2F1D07377}"/>
                </a:ext>
              </a:extLst>
            </p:cNvPr>
            <p:cNvSpPr/>
            <p:nvPr/>
          </p:nvSpPr>
          <p:spPr>
            <a:xfrm>
              <a:off x="616352" y="2032846"/>
              <a:ext cx="8648333" cy="1404177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1A7AE6-9C63-C1A0-E590-8240B217557E}"/>
                </a:ext>
              </a:extLst>
            </p:cNvPr>
            <p:cNvSpPr/>
            <p:nvPr/>
          </p:nvSpPr>
          <p:spPr>
            <a:xfrm>
              <a:off x="616352" y="3433998"/>
              <a:ext cx="8648333" cy="1404177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54EC4D4-5E77-0DAC-752D-00CD778ADA58}"/>
                </a:ext>
              </a:extLst>
            </p:cNvPr>
            <p:cNvSpPr/>
            <p:nvPr/>
          </p:nvSpPr>
          <p:spPr>
            <a:xfrm>
              <a:off x="616352" y="4838175"/>
              <a:ext cx="8648333" cy="1404177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05E12E-951F-F388-D1F1-F19EE649775A}"/>
                </a:ext>
              </a:extLst>
            </p:cNvPr>
            <p:cNvSpPr/>
            <p:nvPr/>
          </p:nvSpPr>
          <p:spPr>
            <a:xfrm>
              <a:off x="616325" y="627155"/>
              <a:ext cx="8648333" cy="1404177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ECC696B-A556-EB08-08EF-EDB627CC7CF7}"/>
                </a:ext>
              </a:extLst>
            </p:cNvPr>
            <p:cNvSpPr/>
            <p:nvPr/>
          </p:nvSpPr>
          <p:spPr>
            <a:xfrm>
              <a:off x="616379" y="631692"/>
              <a:ext cx="8648333" cy="561368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74181E5-14CE-BDF3-1823-C6CDFF2A0D19}"/>
                </a:ext>
              </a:extLst>
            </p:cNvPr>
            <p:cNvSpPr/>
            <p:nvPr/>
          </p:nvSpPr>
          <p:spPr>
            <a:xfrm>
              <a:off x="616366" y="3437017"/>
              <a:ext cx="8648333" cy="280835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F53C297-58F8-546C-7165-0AFC8D0AC9EF}"/>
                </a:ext>
              </a:extLst>
            </p:cNvPr>
            <p:cNvSpPr/>
            <p:nvPr/>
          </p:nvSpPr>
          <p:spPr>
            <a:xfrm>
              <a:off x="616268" y="625642"/>
              <a:ext cx="3595987" cy="561368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D214883-66FF-572C-F64F-F6C3AA5AA776}"/>
                </a:ext>
              </a:extLst>
            </p:cNvPr>
            <p:cNvSpPr/>
            <p:nvPr/>
          </p:nvSpPr>
          <p:spPr>
            <a:xfrm>
              <a:off x="5668775" y="634715"/>
              <a:ext cx="3595987" cy="561368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BDBE607-C771-36D3-75CF-3C918BA0CD04}"/>
                </a:ext>
              </a:extLst>
            </p:cNvPr>
            <p:cNvSpPr txBox="1"/>
            <p:nvPr/>
          </p:nvSpPr>
          <p:spPr>
            <a:xfrm>
              <a:off x="4304831" y="867450"/>
              <a:ext cx="1271311" cy="2694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1400" dirty="0"/>
                <a:t>Verandering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32E6A2A-E676-74C0-BBB0-EF482ED129F3}"/>
                </a:ext>
              </a:extLst>
            </p:cNvPr>
            <p:cNvSpPr txBox="1"/>
            <p:nvPr/>
          </p:nvSpPr>
          <p:spPr>
            <a:xfrm>
              <a:off x="4310525" y="2272382"/>
              <a:ext cx="1271311" cy="2694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1400" dirty="0"/>
                <a:t>Activitei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4CE0051-FE92-00AD-D433-025B6E7CD63E}"/>
                </a:ext>
              </a:extLst>
            </p:cNvPr>
            <p:cNvSpPr txBox="1"/>
            <p:nvPr/>
          </p:nvSpPr>
          <p:spPr>
            <a:xfrm>
              <a:off x="4319600" y="3669758"/>
              <a:ext cx="127131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1400" dirty="0"/>
                <a:t>Opbrengst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3A061E0-AF1D-3215-38F0-A07F45B89C3E}"/>
                </a:ext>
              </a:extLst>
            </p:cNvPr>
            <p:cNvSpPr txBox="1"/>
            <p:nvPr/>
          </p:nvSpPr>
          <p:spPr>
            <a:xfrm>
              <a:off x="4299194" y="5087538"/>
              <a:ext cx="1271311" cy="2694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1400" dirty="0"/>
                <a:t>Reflectie</a:t>
              </a:r>
            </a:p>
          </p:txBody>
        </p:sp>
        <p:pic>
          <p:nvPicPr>
            <p:cNvPr id="44" name="directions.png">
              <a:extLst>
                <a:ext uri="{FF2B5EF4-FFF2-40B4-BE49-F238E27FC236}">
                  <a16:creationId xmlns:a16="http://schemas.microsoft.com/office/drawing/2014/main" id="{7248E527-5661-4292-3912-B72362389D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97583" y="1194729"/>
              <a:ext cx="688389" cy="688389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50" name="iot.png">
              <a:extLst>
                <a:ext uri="{FF2B5EF4-FFF2-40B4-BE49-F238E27FC236}">
                  <a16:creationId xmlns:a16="http://schemas.microsoft.com/office/drawing/2014/main" id="{465E69EE-DC42-0DC6-7815-47085F244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93598" y="5402716"/>
              <a:ext cx="688389" cy="688389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51" name="map.png">
              <a:extLst>
                <a:ext uri="{FF2B5EF4-FFF2-40B4-BE49-F238E27FC236}">
                  <a16:creationId xmlns:a16="http://schemas.microsoft.com/office/drawing/2014/main" id="{77BFD405-3B33-A01F-2663-00277F1DF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604717" y="3949291"/>
              <a:ext cx="688389" cy="688389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61" name="pencilcross.png">
              <a:extLst>
                <a:ext uri="{FF2B5EF4-FFF2-40B4-BE49-F238E27FC236}">
                  <a16:creationId xmlns:a16="http://schemas.microsoft.com/office/drawing/2014/main" id="{12233516-C986-746D-2E23-CCA187C042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608805" y="2600414"/>
              <a:ext cx="688389" cy="688389"/>
            </a:xfrm>
            <a:prstGeom prst="rect">
              <a:avLst/>
            </a:prstGeom>
            <a:ln w="12700">
              <a:miter lim="400000"/>
            </a:ln>
          </p:spPr>
        </p:pic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9DF90164-B9E0-505A-AEF2-88136F72187A}"/>
                </a:ext>
              </a:extLst>
            </p:cNvPr>
            <p:cNvGrpSpPr/>
            <p:nvPr/>
          </p:nvGrpSpPr>
          <p:grpSpPr>
            <a:xfrm>
              <a:off x="718599" y="728403"/>
              <a:ext cx="3400441" cy="455380"/>
              <a:chOff x="722523" y="1409359"/>
              <a:chExt cx="3615458" cy="520328"/>
            </a:xfrm>
          </p:grpSpPr>
          <p:sp>
            <p:nvSpPr>
              <p:cNvPr id="74" name="Rectangular Callout 73">
                <a:extLst>
                  <a:ext uri="{FF2B5EF4-FFF2-40B4-BE49-F238E27FC236}">
                    <a16:creationId xmlns:a16="http://schemas.microsoft.com/office/drawing/2014/main" id="{BF62B9E9-4AD1-F835-2B38-7B7045A24216}"/>
                  </a:ext>
                </a:extLst>
              </p:cNvPr>
              <p:cNvSpPr/>
              <p:nvPr/>
            </p:nvSpPr>
            <p:spPr>
              <a:xfrm>
                <a:off x="722523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. Wat is de gewenste verandering?</a:t>
                </a:r>
              </a:p>
            </p:txBody>
          </p:sp>
          <p:sp>
            <p:nvSpPr>
              <p:cNvPr id="75" name="Rectangular Callout 74">
                <a:extLst>
                  <a:ext uri="{FF2B5EF4-FFF2-40B4-BE49-F238E27FC236}">
                    <a16:creationId xmlns:a16="http://schemas.microsoft.com/office/drawing/2014/main" id="{F567B689-AC51-E29D-FC6E-5524FFC48ACC}"/>
                  </a:ext>
                </a:extLst>
              </p:cNvPr>
              <p:cNvSpPr/>
              <p:nvPr/>
            </p:nvSpPr>
            <p:spPr>
              <a:xfrm>
                <a:off x="1947393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2. Wat is het hoger gelegen doel?</a:t>
                </a:r>
              </a:p>
            </p:txBody>
          </p:sp>
          <p:sp>
            <p:nvSpPr>
              <p:cNvPr id="76" name="Rectangular Callout 75">
                <a:extLst>
                  <a:ext uri="{FF2B5EF4-FFF2-40B4-BE49-F238E27FC236}">
                    <a16:creationId xmlns:a16="http://schemas.microsoft.com/office/drawing/2014/main" id="{D652B83E-5F55-2F23-3033-2A2E550967F2}"/>
                  </a:ext>
                </a:extLst>
              </p:cNvPr>
              <p:cNvSpPr/>
              <p:nvPr/>
            </p:nvSpPr>
            <p:spPr>
              <a:xfrm>
                <a:off x="3168904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3. Waarvan is het succes van de verandering afhankelijk?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FEC212AF-2D4C-0C40-512D-3FBEE6D0F0A8}"/>
                </a:ext>
              </a:extLst>
            </p:cNvPr>
            <p:cNvGrpSpPr/>
            <p:nvPr/>
          </p:nvGrpSpPr>
          <p:grpSpPr>
            <a:xfrm>
              <a:off x="728627" y="2124960"/>
              <a:ext cx="3400441" cy="455380"/>
              <a:chOff x="722523" y="1409359"/>
              <a:chExt cx="3615458" cy="520328"/>
            </a:xfrm>
          </p:grpSpPr>
          <p:sp>
            <p:nvSpPr>
              <p:cNvPr id="78" name="Rectangular Callout 77">
                <a:extLst>
                  <a:ext uri="{FF2B5EF4-FFF2-40B4-BE49-F238E27FC236}">
                    <a16:creationId xmlns:a16="http://schemas.microsoft.com/office/drawing/2014/main" id="{FDDD6429-C1CA-C6E0-A11B-D7FF7985BE2C}"/>
                  </a:ext>
                </a:extLst>
              </p:cNvPr>
              <p:cNvSpPr/>
              <p:nvPr/>
            </p:nvSpPr>
            <p:spPr>
              <a:xfrm>
                <a:off x="722523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4. Beschrijf de activiteit kort en bondig.</a:t>
                </a:r>
              </a:p>
            </p:txBody>
          </p:sp>
          <p:sp>
            <p:nvSpPr>
              <p:cNvPr id="79" name="Rectangular Callout 78">
                <a:extLst>
                  <a:ext uri="{FF2B5EF4-FFF2-40B4-BE49-F238E27FC236}">
                    <a16:creationId xmlns:a16="http://schemas.microsoft.com/office/drawing/2014/main" id="{78619507-F5EF-7187-0277-0DDB87D6858D}"/>
                  </a:ext>
                </a:extLst>
              </p:cNvPr>
              <p:cNvSpPr/>
              <p:nvPr/>
            </p:nvSpPr>
            <p:spPr>
              <a:xfrm>
                <a:off x="1947393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5. Wat en wie is er nodig voor de uitvoering?</a:t>
                </a:r>
              </a:p>
            </p:txBody>
          </p:sp>
          <p:sp>
            <p:nvSpPr>
              <p:cNvPr id="80" name="Rectangular Callout 79">
                <a:extLst>
                  <a:ext uri="{FF2B5EF4-FFF2-40B4-BE49-F238E27FC236}">
                    <a16:creationId xmlns:a16="http://schemas.microsoft.com/office/drawing/2014/main" id="{AED1D0F7-E24F-2184-7B35-DC8412B88F2D}"/>
                  </a:ext>
                </a:extLst>
              </p:cNvPr>
              <p:cNvSpPr/>
              <p:nvPr/>
            </p:nvSpPr>
            <p:spPr>
              <a:xfrm>
                <a:off x="3168904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6. Welke risico’s zijn er voor deze activiteit?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3809BCC2-6932-32FF-0CFB-6B4CD30EDD53}"/>
                </a:ext>
              </a:extLst>
            </p:cNvPr>
            <p:cNvGrpSpPr/>
            <p:nvPr/>
          </p:nvGrpSpPr>
          <p:grpSpPr>
            <a:xfrm>
              <a:off x="727048" y="3499896"/>
              <a:ext cx="3400441" cy="455380"/>
              <a:chOff x="722523" y="1409359"/>
              <a:chExt cx="3615458" cy="520328"/>
            </a:xfrm>
          </p:grpSpPr>
          <p:sp>
            <p:nvSpPr>
              <p:cNvPr id="82" name="Rectangular Callout 81">
                <a:extLst>
                  <a:ext uri="{FF2B5EF4-FFF2-40B4-BE49-F238E27FC236}">
                    <a16:creationId xmlns:a16="http://schemas.microsoft.com/office/drawing/2014/main" id="{F1D0C239-82E3-302A-B381-BAC762147D79}"/>
                  </a:ext>
                </a:extLst>
              </p:cNvPr>
              <p:cNvSpPr/>
              <p:nvPr/>
            </p:nvSpPr>
            <p:spPr>
              <a:xfrm>
                <a:off x="722523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7. Wat zijn de belangrijkste opbrengsten?</a:t>
                </a:r>
              </a:p>
            </p:txBody>
          </p:sp>
          <p:sp>
            <p:nvSpPr>
              <p:cNvPr id="83" name="Rectangular Callout 82">
                <a:extLst>
                  <a:ext uri="{FF2B5EF4-FFF2-40B4-BE49-F238E27FC236}">
                    <a16:creationId xmlns:a16="http://schemas.microsoft.com/office/drawing/2014/main" id="{7FFEE2AA-4274-3FB0-7022-F86746F7E875}"/>
                  </a:ext>
                </a:extLst>
              </p:cNvPr>
              <p:cNvSpPr/>
              <p:nvPr/>
            </p:nvSpPr>
            <p:spPr>
              <a:xfrm>
                <a:off x="1947393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8. Welke methodes zet je in om informatie te verzamelen over de opbrengsten?</a:t>
                </a:r>
              </a:p>
            </p:txBody>
          </p:sp>
          <p:sp>
            <p:nvSpPr>
              <p:cNvPr id="84" name="Rectangular Callout 83">
                <a:extLst>
                  <a:ext uri="{FF2B5EF4-FFF2-40B4-BE49-F238E27FC236}">
                    <a16:creationId xmlns:a16="http://schemas.microsoft.com/office/drawing/2014/main" id="{F100DC6D-6249-22CF-44A7-F61E0435868E}"/>
                  </a:ext>
                </a:extLst>
              </p:cNvPr>
              <p:cNvSpPr/>
              <p:nvPr/>
            </p:nvSpPr>
            <p:spPr>
              <a:xfrm>
                <a:off x="3168904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9. Hoe dragen de verwachte (deel)opbrengsten bij aan de gewenste verandering?</a:t>
                </a: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600F68C0-6CE0-4B99-082D-A2D6D7661C0C}"/>
                </a:ext>
              </a:extLst>
            </p:cNvPr>
            <p:cNvGrpSpPr/>
            <p:nvPr/>
          </p:nvGrpSpPr>
          <p:grpSpPr>
            <a:xfrm>
              <a:off x="722523" y="4917263"/>
              <a:ext cx="3400441" cy="455380"/>
              <a:chOff x="722523" y="1409359"/>
              <a:chExt cx="3615458" cy="520328"/>
            </a:xfrm>
          </p:grpSpPr>
          <p:sp>
            <p:nvSpPr>
              <p:cNvPr id="86" name="Rectangular Callout 85">
                <a:extLst>
                  <a:ext uri="{FF2B5EF4-FFF2-40B4-BE49-F238E27FC236}">
                    <a16:creationId xmlns:a16="http://schemas.microsoft.com/office/drawing/2014/main" id="{D77F6EBA-7DFB-31DC-8E88-8ADFB2FB1B5C}"/>
                  </a:ext>
                </a:extLst>
              </p:cNvPr>
              <p:cNvSpPr/>
              <p:nvPr/>
            </p:nvSpPr>
            <p:spPr>
              <a:xfrm>
                <a:off x="722523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0. Met wie en wanneer ga je reflecteren over de activiteit en opbrengsten?</a:t>
                </a:r>
              </a:p>
            </p:txBody>
          </p:sp>
          <p:sp>
            <p:nvSpPr>
              <p:cNvPr id="87" name="Rectangular Callout 86">
                <a:extLst>
                  <a:ext uri="{FF2B5EF4-FFF2-40B4-BE49-F238E27FC236}">
                    <a16:creationId xmlns:a16="http://schemas.microsoft.com/office/drawing/2014/main" id="{59667FC9-FEFE-6444-4D65-583961C5CC94}"/>
                  </a:ext>
                </a:extLst>
              </p:cNvPr>
              <p:cNvSpPr/>
              <p:nvPr/>
            </p:nvSpPr>
            <p:spPr>
              <a:xfrm>
                <a:off x="1947393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1. Welke aanpak kies je voor reflectie?</a:t>
                </a:r>
              </a:p>
            </p:txBody>
          </p:sp>
          <p:sp>
            <p:nvSpPr>
              <p:cNvPr id="90" name="Rectangular Callout 89">
                <a:extLst>
                  <a:ext uri="{FF2B5EF4-FFF2-40B4-BE49-F238E27FC236}">
                    <a16:creationId xmlns:a16="http://schemas.microsoft.com/office/drawing/2014/main" id="{8732F32E-A457-B41E-3208-D1DD56B1FEAE}"/>
                  </a:ext>
                </a:extLst>
              </p:cNvPr>
              <p:cNvSpPr/>
              <p:nvPr/>
            </p:nvSpPr>
            <p:spPr>
              <a:xfrm>
                <a:off x="3168904" y="1409359"/>
                <a:ext cx="1169077" cy="520328"/>
              </a:xfrm>
              <a:prstGeom prst="wedgeRectCallout">
                <a:avLst/>
              </a:prstGeom>
              <a:solidFill>
                <a:srgbClr val="BDEABB">
                  <a:alpha val="4902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2. Hoe en waar leg je de reflectie resultaten vast?</a:t>
                </a:r>
              </a:p>
            </p:txBody>
          </p:sp>
        </p:grp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DD4AB334-EB07-1E50-E111-7C208204AB59}"/>
                </a:ext>
              </a:extLst>
            </p:cNvPr>
            <p:cNvGrpSpPr/>
            <p:nvPr/>
          </p:nvGrpSpPr>
          <p:grpSpPr>
            <a:xfrm>
              <a:off x="5786960" y="728403"/>
              <a:ext cx="3400441" cy="455380"/>
              <a:chOff x="722523" y="1409359"/>
              <a:chExt cx="3615458" cy="520328"/>
            </a:xfrm>
            <a:solidFill>
              <a:srgbClr val="EDC970">
                <a:alpha val="50196"/>
              </a:srgbClr>
            </a:solidFill>
          </p:grpSpPr>
          <p:sp>
            <p:nvSpPr>
              <p:cNvPr id="92" name="Rectangular Callout 91">
                <a:extLst>
                  <a:ext uri="{FF2B5EF4-FFF2-40B4-BE49-F238E27FC236}">
                    <a16:creationId xmlns:a16="http://schemas.microsoft.com/office/drawing/2014/main" id="{3A28EF97-467D-EE2C-C9B5-D4CC6237931D}"/>
                  </a:ext>
                </a:extLst>
              </p:cNvPr>
              <p:cNvSpPr/>
              <p:nvPr/>
            </p:nvSpPr>
            <p:spPr>
              <a:xfrm>
                <a:off x="722523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22. Heeft de activiteit bijgedragen aan de gewenste verandering? Zo niet, waar ligt dat aan?</a:t>
                </a:r>
              </a:p>
            </p:txBody>
          </p:sp>
          <p:sp>
            <p:nvSpPr>
              <p:cNvPr id="93" name="Rectangular Callout 92">
                <a:extLst>
                  <a:ext uri="{FF2B5EF4-FFF2-40B4-BE49-F238E27FC236}">
                    <a16:creationId xmlns:a16="http://schemas.microsoft.com/office/drawing/2014/main" id="{FA86AE57-32D9-8F0C-7ADD-513D417B1E03}"/>
                  </a:ext>
                </a:extLst>
              </p:cNvPr>
              <p:cNvSpPr/>
              <p:nvPr/>
            </p:nvSpPr>
            <p:spPr>
              <a:xfrm>
                <a:off x="1947393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23. Welke afhankelijkheden hebben mee/tegengewerkt?</a:t>
                </a:r>
              </a:p>
            </p:txBody>
          </p:sp>
          <p:sp>
            <p:nvSpPr>
              <p:cNvPr id="98" name="Rectangular Callout 97">
                <a:extLst>
                  <a:ext uri="{FF2B5EF4-FFF2-40B4-BE49-F238E27FC236}">
                    <a16:creationId xmlns:a16="http://schemas.microsoft.com/office/drawing/2014/main" id="{D3D40807-0BE9-017A-9E8A-DA08D04F662E}"/>
                  </a:ext>
                </a:extLst>
              </p:cNvPr>
              <p:cNvSpPr/>
              <p:nvPr/>
            </p:nvSpPr>
            <p:spPr>
              <a:xfrm>
                <a:off x="3168904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24. In hoeverre is de bereikte verandering specifiek voor deze context?</a:t>
                </a: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DA70FE1F-2B45-71B9-5F93-9E2A37BE1721}"/>
                </a:ext>
              </a:extLst>
            </p:cNvPr>
            <p:cNvGrpSpPr/>
            <p:nvPr/>
          </p:nvGrpSpPr>
          <p:grpSpPr>
            <a:xfrm>
              <a:off x="5796988" y="2124960"/>
              <a:ext cx="3400441" cy="455380"/>
              <a:chOff x="722523" y="1409359"/>
              <a:chExt cx="3615458" cy="520328"/>
            </a:xfrm>
            <a:solidFill>
              <a:srgbClr val="EDC970">
                <a:alpha val="50196"/>
              </a:srgbClr>
            </a:solidFill>
          </p:grpSpPr>
          <p:sp>
            <p:nvSpPr>
              <p:cNvPr id="100" name="Rectangular Callout 99">
                <a:extLst>
                  <a:ext uri="{FF2B5EF4-FFF2-40B4-BE49-F238E27FC236}">
                    <a16:creationId xmlns:a16="http://schemas.microsoft.com/office/drawing/2014/main" id="{8C43D245-8B67-719D-133F-CD37A771EC96}"/>
                  </a:ext>
                </a:extLst>
              </p:cNvPr>
              <p:cNvSpPr/>
              <p:nvPr/>
            </p:nvSpPr>
            <p:spPr>
              <a:xfrm>
                <a:off x="722523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9. Welke wijzigingen zijn er aangebracht in de activiteit tijdens de uitvoering?</a:t>
                </a:r>
              </a:p>
            </p:txBody>
          </p:sp>
          <p:sp>
            <p:nvSpPr>
              <p:cNvPr id="101" name="Rectangular Callout 100">
                <a:extLst>
                  <a:ext uri="{FF2B5EF4-FFF2-40B4-BE49-F238E27FC236}">
                    <a16:creationId xmlns:a16="http://schemas.microsoft.com/office/drawing/2014/main" id="{E3A90740-56AC-767C-5DC2-2303104F5D2B}"/>
                  </a:ext>
                </a:extLst>
              </p:cNvPr>
              <p:cNvSpPr/>
              <p:nvPr/>
            </p:nvSpPr>
            <p:spPr>
              <a:xfrm>
                <a:off x="1947393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20. Wat was de werkelijke bijdrage van  deelnemende partijen?</a:t>
                </a:r>
              </a:p>
            </p:txBody>
          </p:sp>
          <p:sp>
            <p:nvSpPr>
              <p:cNvPr id="102" name="Rectangular Callout 101">
                <a:extLst>
                  <a:ext uri="{FF2B5EF4-FFF2-40B4-BE49-F238E27FC236}">
                    <a16:creationId xmlns:a16="http://schemas.microsoft.com/office/drawing/2014/main" id="{74D12B3C-4D7B-748E-D565-007220C6BB36}"/>
                  </a:ext>
                </a:extLst>
              </p:cNvPr>
              <p:cNvSpPr/>
              <p:nvPr/>
            </p:nvSpPr>
            <p:spPr>
              <a:xfrm>
                <a:off x="3168904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21. Welke ideeën zijn ontstaan voor een andere activiteit of een vervolgactiviteit?</a:t>
                </a: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BD831549-859D-75D0-CAD4-2A21E5FA7BAD}"/>
                </a:ext>
              </a:extLst>
            </p:cNvPr>
            <p:cNvGrpSpPr/>
            <p:nvPr/>
          </p:nvGrpSpPr>
          <p:grpSpPr>
            <a:xfrm>
              <a:off x="5795409" y="3499896"/>
              <a:ext cx="3400441" cy="455380"/>
              <a:chOff x="722523" y="1409359"/>
              <a:chExt cx="3615458" cy="520328"/>
            </a:xfrm>
            <a:solidFill>
              <a:srgbClr val="EDC970">
                <a:alpha val="50196"/>
              </a:srgbClr>
            </a:solidFill>
          </p:grpSpPr>
          <p:sp>
            <p:nvSpPr>
              <p:cNvPr id="104" name="Rectangular Callout 103">
                <a:extLst>
                  <a:ext uri="{FF2B5EF4-FFF2-40B4-BE49-F238E27FC236}">
                    <a16:creationId xmlns:a16="http://schemas.microsoft.com/office/drawing/2014/main" id="{D63BD0B9-4BC9-EC1A-5705-AD814C22E851}"/>
                  </a:ext>
                </a:extLst>
              </p:cNvPr>
              <p:cNvSpPr/>
              <p:nvPr/>
            </p:nvSpPr>
            <p:spPr>
              <a:xfrm>
                <a:off x="722523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6. Zijn de opbrengsten in lijn met de verwachtingen?</a:t>
                </a:r>
              </a:p>
            </p:txBody>
          </p:sp>
          <p:sp>
            <p:nvSpPr>
              <p:cNvPr id="105" name="Rectangular Callout 104">
                <a:extLst>
                  <a:ext uri="{FF2B5EF4-FFF2-40B4-BE49-F238E27FC236}">
                    <a16:creationId xmlns:a16="http://schemas.microsoft.com/office/drawing/2014/main" id="{A00AC17B-7B8E-609E-9755-9280A644B58A}"/>
                  </a:ext>
                </a:extLst>
              </p:cNvPr>
              <p:cNvSpPr/>
              <p:nvPr/>
            </p:nvSpPr>
            <p:spPr>
              <a:xfrm>
                <a:off x="1947393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7. Sluiten de opbrengsten aan bij de gewenste verandering?</a:t>
                </a:r>
              </a:p>
            </p:txBody>
          </p:sp>
          <p:sp>
            <p:nvSpPr>
              <p:cNvPr id="106" name="Rectangular Callout 105">
                <a:extLst>
                  <a:ext uri="{FF2B5EF4-FFF2-40B4-BE49-F238E27FC236}">
                    <a16:creationId xmlns:a16="http://schemas.microsoft.com/office/drawing/2014/main" id="{27BB93DA-55DE-EFA3-F819-6D60982C06ED}"/>
                  </a:ext>
                </a:extLst>
              </p:cNvPr>
              <p:cNvSpPr/>
              <p:nvPr/>
            </p:nvSpPr>
            <p:spPr>
              <a:xfrm>
                <a:off x="3168904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8. Zijn de opbrengsten direct bruikbaar voor de volgende activiteit?</a:t>
                </a: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4BEB885C-C3D6-06FB-0F22-8A88AE76B57C}"/>
                </a:ext>
              </a:extLst>
            </p:cNvPr>
            <p:cNvGrpSpPr/>
            <p:nvPr/>
          </p:nvGrpSpPr>
          <p:grpSpPr>
            <a:xfrm>
              <a:off x="5790884" y="4917263"/>
              <a:ext cx="3400441" cy="455380"/>
              <a:chOff x="722523" y="1409359"/>
              <a:chExt cx="3615458" cy="520328"/>
            </a:xfrm>
            <a:solidFill>
              <a:srgbClr val="EDC970">
                <a:alpha val="50196"/>
              </a:srgbClr>
            </a:solidFill>
          </p:grpSpPr>
          <p:sp>
            <p:nvSpPr>
              <p:cNvPr id="108" name="Rectangular Callout 107">
                <a:extLst>
                  <a:ext uri="{FF2B5EF4-FFF2-40B4-BE49-F238E27FC236}">
                    <a16:creationId xmlns:a16="http://schemas.microsoft.com/office/drawing/2014/main" id="{E7D4295A-F8A3-6E46-8BAC-35A83B3680B6}"/>
                  </a:ext>
                </a:extLst>
              </p:cNvPr>
              <p:cNvSpPr/>
              <p:nvPr/>
            </p:nvSpPr>
            <p:spPr>
              <a:xfrm>
                <a:off x="722523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3. Is op alle belangrijke aspecten gereflecteerd? </a:t>
                </a:r>
              </a:p>
            </p:txBody>
          </p:sp>
          <p:sp>
            <p:nvSpPr>
              <p:cNvPr id="109" name="Rectangular Callout 108">
                <a:extLst>
                  <a:ext uri="{FF2B5EF4-FFF2-40B4-BE49-F238E27FC236}">
                    <a16:creationId xmlns:a16="http://schemas.microsoft.com/office/drawing/2014/main" id="{0F8BF4A2-4DEA-AC7D-0E31-19D4CEC765DF}"/>
                  </a:ext>
                </a:extLst>
              </p:cNvPr>
              <p:cNvSpPr/>
              <p:nvPr/>
            </p:nvSpPr>
            <p:spPr>
              <a:xfrm>
                <a:off x="1947393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4. Welke conclusies trek je uit de reflecties?</a:t>
                </a:r>
              </a:p>
            </p:txBody>
          </p:sp>
          <p:sp>
            <p:nvSpPr>
              <p:cNvPr id="110" name="Rectangular Callout 109">
                <a:extLst>
                  <a:ext uri="{FF2B5EF4-FFF2-40B4-BE49-F238E27FC236}">
                    <a16:creationId xmlns:a16="http://schemas.microsoft.com/office/drawing/2014/main" id="{5F487359-0681-0A6E-A183-6A95BC54AEE3}"/>
                  </a:ext>
                </a:extLst>
              </p:cNvPr>
              <p:cNvSpPr/>
              <p:nvPr/>
            </p:nvSpPr>
            <p:spPr>
              <a:xfrm>
                <a:off x="3168904" y="1409359"/>
                <a:ext cx="1169077" cy="520328"/>
              </a:xfrm>
              <a:prstGeom prst="wedgeRectCallou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buNone/>
                </a:pPr>
                <a:r>
                  <a:rPr lang="nl-NL" sz="600" dirty="0">
                    <a:solidFill>
                      <a:schemeClr val="tx1"/>
                    </a:solidFill>
                  </a:rPr>
                  <a:t>15. Wat doe je met de conclusies? </a:t>
                </a:r>
              </a:p>
            </p:txBody>
          </p:sp>
        </p:grpSp>
      </p:grpSp>
      <p:sp>
        <p:nvSpPr>
          <p:cNvPr id="9" name="Rectangular Callout 8">
            <a:extLst>
              <a:ext uri="{FF2B5EF4-FFF2-40B4-BE49-F238E27FC236}">
                <a16:creationId xmlns:a16="http://schemas.microsoft.com/office/drawing/2014/main" id="{E2B7946E-D9B2-9186-D4A6-71AECF1BB9DB}"/>
              </a:ext>
            </a:extLst>
          </p:cNvPr>
          <p:cNvSpPr/>
          <p:nvPr/>
        </p:nvSpPr>
        <p:spPr>
          <a:xfrm>
            <a:off x="1417673" y="75528"/>
            <a:ext cx="2218744" cy="455380"/>
          </a:xfrm>
          <a:prstGeom prst="wedgeRectCallout">
            <a:avLst/>
          </a:prstGeom>
          <a:solidFill>
            <a:schemeClr val="bg2">
              <a:lumMod val="85000"/>
              <a:alpha val="490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>
              <a:buNone/>
            </a:pPr>
            <a:r>
              <a:rPr lang="nl-NL" sz="800" i="1" dirty="0">
                <a:solidFill>
                  <a:schemeClr val="tx1"/>
                </a:solidFill>
                <a:sym typeface="Wingdings" pitchFamily="2" charset="2"/>
              </a:rPr>
              <a:t>Naam van de (hoofd/sub) activiteit:</a:t>
            </a:r>
          </a:p>
          <a:p>
            <a:pPr marL="0" indent="0">
              <a:buNone/>
            </a:pPr>
            <a:r>
              <a:rPr lang="nl-NL" sz="600" i="1" dirty="0">
                <a:solidFill>
                  <a:schemeClr val="tx1"/>
                </a:solidFill>
                <a:sym typeface="Wingdings" pitchFamily="2" charset="2"/>
              </a:rPr>
              <a:t>……………………………………………………………………………………………….</a:t>
            </a:r>
            <a:endParaRPr lang="nl-NL" sz="600" i="1" dirty="0">
              <a:solidFill>
                <a:schemeClr val="tx1"/>
              </a:solidFill>
            </a:endParaRPr>
          </a:p>
        </p:txBody>
      </p:sp>
      <p:sp>
        <p:nvSpPr>
          <p:cNvPr id="39" name="Rectangular Callout 38">
            <a:extLst>
              <a:ext uri="{FF2B5EF4-FFF2-40B4-BE49-F238E27FC236}">
                <a16:creationId xmlns:a16="http://schemas.microsoft.com/office/drawing/2014/main" id="{211B359A-9DFF-67CA-3C01-E98D40DEC51A}"/>
              </a:ext>
            </a:extLst>
          </p:cNvPr>
          <p:cNvSpPr/>
          <p:nvPr/>
        </p:nvSpPr>
        <p:spPr>
          <a:xfrm>
            <a:off x="3690864" y="75528"/>
            <a:ext cx="3637008" cy="455380"/>
          </a:xfrm>
          <a:prstGeom prst="wedgeRectCallout">
            <a:avLst/>
          </a:prstGeom>
          <a:solidFill>
            <a:schemeClr val="bg2">
              <a:lumMod val="85000"/>
              <a:alpha val="490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>
              <a:buNone/>
            </a:pPr>
            <a:r>
              <a:rPr lang="nl-NL" sz="800" i="1" dirty="0">
                <a:solidFill>
                  <a:schemeClr val="tx1"/>
                </a:solidFill>
                <a:sym typeface="Wingdings" pitchFamily="2" charset="2"/>
              </a:rPr>
              <a:t>Context omschrijving </a:t>
            </a:r>
            <a:r>
              <a:rPr lang="nl-NL" sz="600" i="1" dirty="0">
                <a:solidFill>
                  <a:schemeClr val="tx1"/>
                </a:solidFill>
                <a:sym typeface="Wingdings" pitchFamily="2" charset="2"/>
              </a:rPr>
              <a:t>(lokale situatie, doelgroep, thematiek, betrokkenen)</a:t>
            </a:r>
            <a:r>
              <a:rPr lang="nl-NL" sz="800" i="1" dirty="0">
                <a:solidFill>
                  <a:schemeClr val="tx1"/>
                </a:solidFill>
                <a:sym typeface="Wingdings" pitchFamily="2" charset="2"/>
              </a:rPr>
              <a:t>:</a:t>
            </a:r>
          </a:p>
          <a:p>
            <a:pPr marL="0" indent="0">
              <a:buNone/>
            </a:pPr>
            <a:r>
              <a:rPr lang="nl-NL" sz="600" i="1" dirty="0">
                <a:solidFill>
                  <a:schemeClr val="tx1"/>
                </a:solidFill>
                <a:sym typeface="Wingdings" pitchFamily="2" charset="2"/>
              </a:rPr>
              <a:t>……………………………………………………………………………………………………………………………………………………………….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7CA63F3-971C-F8AC-C1DC-47FB2CA7AD2A}"/>
              </a:ext>
            </a:extLst>
          </p:cNvPr>
          <p:cNvSpPr txBox="1"/>
          <p:nvPr/>
        </p:nvSpPr>
        <p:spPr>
          <a:xfrm>
            <a:off x="116277" y="80467"/>
            <a:ext cx="1180895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nl-NL" sz="1200" i="1" dirty="0">
                <a:solidFill>
                  <a:schemeClr val="bg1">
                    <a:lumMod val="50000"/>
                  </a:schemeClr>
                </a:solidFill>
              </a:rPr>
              <a:t>Doorwerking Canvas v2.0: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nl-NL" sz="700" i="1" dirty="0">
                <a:solidFill>
                  <a:schemeClr val="bg1">
                    <a:lumMod val="50000"/>
                  </a:schemeClr>
                </a:solidFill>
              </a:rPr>
              <a:t>Structurele vastlegging van projectactiviteiten - reflectie voor monitoring en evaluatie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nl-NL" sz="700" i="1" dirty="0">
                <a:solidFill>
                  <a:schemeClr val="bg1">
                    <a:lumMod val="50000"/>
                  </a:schemeClr>
                </a:solidFill>
              </a:rPr>
              <a:t>-------------------------------------------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nl-NL" sz="700" i="1" dirty="0">
                <a:solidFill>
                  <a:schemeClr val="bg1">
                    <a:lumMod val="50000"/>
                  </a:schemeClr>
                </a:solidFill>
              </a:rPr>
              <a:t>Checklist - bepaal hieronder de startpositie ter voorbereiding: (kadering A/D - praktisch E/H)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0F74105-FC9B-D645-3DA8-3765D93F8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86" y="6420442"/>
            <a:ext cx="1014905" cy="35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Tijdelijke aanduiding voor afbeelding 8">
            <a:extLst>
              <a:ext uri="{FF2B5EF4-FFF2-40B4-BE49-F238E27FC236}">
                <a16:creationId xmlns:a16="http://schemas.microsoft.com/office/drawing/2014/main" id="{8EC6C44A-EB8D-4B10-FAE9-53EB7BB6471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4455344" y="6376591"/>
            <a:ext cx="2065866" cy="4452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2B0792E-EDC5-706D-BFEC-5859489B1BE7}"/>
              </a:ext>
            </a:extLst>
          </p:cNvPr>
          <p:cNvSpPr txBox="1"/>
          <p:nvPr/>
        </p:nvSpPr>
        <p:spPr>
          <a:xfrm>
            <a:off x="1456132" y="6540328"/>
            <a:ext cx="1522392" cy="1900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>
                <a:solidFill>
                  <a:schemeClr val="bg1">
                    <a:lumMod val="50000"/>
                  </a:schemeClr>
                </a:solidFill>
              </a:rPr>
              <a:t>SPRONG MOOI PASS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tangular Callout 9">
            <a:extLst>
              <a:ext uri="{FF2B5EF4-FFF2-40B4-BE49-F238E27FC236}">
                <a16:creationId xmlns:a16="http://schemas.microsoft.com/office/drawing/2014/main" id="{44CABA66-1432-5089-EE25-32F8DD91D165}"/>
              </a:ext>
            </a:extLst>
          </p:cNvPr>
          <p:cNvSpPr/>
          <p:nvPr/>
        </p:nvSpPr>
        <p:spPr>
          <a:xfrm>
            <a:off x="7369015" y="80467"/>
            <a:ext cx="2218744" cy="455380"/>
          </a:xfrm>
          <a:prstGeom prst="wedgeRectCallout">
            <a:avLst/>
          </a:prstGeom>
          <a:solidFill>
            <a:schemeClr val="bg2">
              <a:lumMod val="85000"/>
              <a:alpha val="490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>
              <a:buNone/>
            </a:pPr>
            <a:r>
              <a:rPr lang="nl-NL" sz="800" i="1" dirty="0">
                <a:solidFill>
                  <a:schemeClr val="tx1"/>
                </a:solidFill>
                <a:sym typeface="Wingdings" pitchFamily="2" charset="2"/>
              </a:rPr>
              <a:t>Datum &amp; Project: </a:t>
            </a:r>
            <a:r>
              <a:rPr lang="nl-NL" sz="600" i="1" dirty="0">
                <a:solidFill>
                  <a:schemeClr val="tx1"/>
                </a:solidFill>
                <a:sym typeface="Wingdings" pitchFamily="2" charset="2"/>
              </a:rPr>
              <a:t>…………………………………………………………..</a:t>
            </a:r>
          </a:p>
          <a:p>
            <a:pPr marL="0" indent="0">
              <a:buNone/>
            </a:pPr>
            <a:r>
              <a:rPr lang="nl-NL" sz="800" i="1" dirty="0">
                <a:solidFill>
                  <a:schemeClr val="tx1"/>
                </a:solidFill>
                <a:sym typeface="Wingdings" pitchFamily="2" charset="2"/>
              </a:rPr>
              <a:t>Verantwoordelijke: </a:t>
            </a:r>
            <a:r>
              <a:rPr lang="nl-NL" sz="600" i="1" dirty="0">
                <a:solidFill>
                  <a:schemeClr val="tx1"/>
                </a:solidFill>
                <a:sym typeface="Wingdings" pitchFamily="2" charset="2"/>
              </a:rPr>
              <a:t>…………………………………………………........</a:t>
            </a:r>
            <a:endParaRPr lang="nl-NL" sz="600" i="1" dirty="0">
              <a:solidFill>
                <a:schemeClr val="tx1"/>
              </a:solidFill>
            </a:endParaRPr>
          </a:p>
        </p:txBody>
      </p:sp>
      <p:sp>
        <p:nvSpPr>
          <p:cNvPr id="17" name="Snip Diagonal Corner of Rectangle 16">
            <a:extLst>
              <a:ext uri="{FF2B5EF4-FFF2-40B4-BE49-F238E27FC236}">
                <a16:creationId xmlns:a16="http://schemas.microsoft.com/office/drawing/2014/main" id="{08868323-85C7-8557-A65D-D1B695EE49E1}"/>
              </a:ext>
            </a:extLst>
          </p:cNvPr>
          <p:cNvSpPr/>
          <p:nvPr/>
        </p:nvSpPr>
        <p:spPr>
          <a:xfrm>
            <a:off x="116949" y="1507297"/>
            <a:ext cx="1180895" cy="502109"/>
          </a:xfrm>
          <a:prstGeom prst="snip2DiagRect">
            <a:avLst/>
          </a:prstGeom>
          <a:solidFill>
            <a:srgbClr val="D9D9D9">
              <a:alpha val="4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>
              <a:spcBef>
                <a:spcPts val="600"/>
              </a:spcBef>
              <a:buNone/>
              <a:defRPr/>
            </a:pP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A. Voor wie is dit van belang?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…………………………………………….</a:t>
            </a:r>
          </a:p>
        </p:txBody>
      </p:sp>
      <p:sp>
        <p:nvSpPr>
          <p:cNvPr id="18" name="Snip Diagonal Corner of Rectangle 17">
            <a:extLst>
              <a:ext uri="{FF2B5EF4-FFF2-40B4-BE49-F238E27FC236}">
                <a16:creationId xmlns:a16="http://schemas.microsoft.com/office/drawing/2014/main" id="{567B06FB-8770-370F-5369-A8228D0B537E}"/>
              </a:ext>
            </a:extLst>
          </p:cNvPr>
          <p:cNvSpPr/>
          <p:nvPr/>
        </p:nvSpPr>
        <p:spPr>
          <a:xfrm>
            <a:off x="116277" y="2124380"/>
            <a:ext cx="1180895" cy="502109"/>
          </a:xfrm>
          <a:prstGeom prst="snip2DiagRect">
            <a:avLst/>
          </a:prstGeom>
          <a:solidFill>
            <a:srgbClr val="D9D9D9">
              <a:alpha val="4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0" indent="0">
              <a:spcBef>
                <a:spcPts val="600"/>
              </a:spcBef>
              <a:buNone/>
              <a:defRPr/>
            </a:pP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B. Afhankelijkheid activiteiten?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</p:txBody>
      </p:sp>
      <p:sp>
        <p:nvSpPr>
          <p:cNvPr id="19" name="Snip Diagonal Corner of Rectangle 18">
            <a:extLst>
              <a:ext uri="{FF2B5EF4-FFF2-40B4-BE49-F238E27FC236}">
                <a16:creationId xmlns:a16="http://schemas.microsoft.com/office/drawing/2014/main" id="{B7EF3BA7-D5EF-0CD0-5534-E843E7D301A1}"/>
              </a:ext>
            </a:extLst>
          </p:cNvPr>
          <p:cNvSpPr/>
          <p:nvPr/>
        </p:nvSpPr>
        <p:spPr>
          <a:xfrm>
            <a:off x="119387" y="2741463"/>
            <a:ext cx="1180895" cy="502109"/>
          </a:xfrm>
          <a:prstGeom prst="snip2DiagRect">
            <a:avLst/>
          </a:prstGeom>
          <a:solidFill>
            <a:srgbClr val="D9D9D9">
              <a:alpha val="4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C. </a:t>
            </a:r>
            <a:r>
              <a:rPr lang="nl-NL" sz="600" i="1" dirty="0">
                <a:solidFill>
                  <a:srgbClr val="000000"/>
                </a:solidFill>
                <a:latin typeface="Open Sans"/>
                <a:sym typeface="Wingdings" pitchFamily="2" charset="2"/>
              </a:rPr>
              <a:t>Activiteit i</a:t>
            </a:r>
            <a:r>
              <a:rPr kumimoji="0" lang="nl-NL" sz="6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ngebed</a:t>
            </a: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 in project?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…………………………………………….</a:t>
            </a:r>
          </a:p>
        </p:txBody>
      </p:sp>
      <p:sp>
        <p:nvSpPr>
          <p:cNvPr id="20" name="Snip Diagonal Corner of Rectangle 19">
            <a:extLst>
              <a:ext uri="{FF2B5EF4-FFF2-40B4-BE49-F238E27FC236}">
                <a16:creationId xmlns:a16="http://schemas.microsoft.com/office/drawing/2014/main" id="{36AE7FA2-7AB6-EA9A-AC81-6938BED7756B}"/>
              </a:ext>
            </a:extLst>
          </p:cNvPr>
          <p:cNvSpPr/>
          <p:nvPr/>
        </p:nvSpPr>
        <p:spPr>
          <a:xfrm>
            <a:off x="118715" y="3358546"/>
            <a:ext cx="1180895" cy="502109"/>
          </a:xfrm>
          <a:prstGeom prst="snip2DiagRect">
            <a:avLst/>
          </a:prstGeom>
          <a:solidFill>
            <a:srgbClr val="D9D9D9">
              <a:alpha val="4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0" indent="0">
              <a:spcBef>
                <a:spcPts val="600"/>
              </a:spcBef>
              <a:buNone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D. </a:t>
            </a: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Zijn er randvoorwaarden?</a:t>
            </a:r>
            <a:endParaRPr kumimoji="0" lang="nl-NL" sz="6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  <a:sym typeface="Wingdings" pitchFamily="2" charset="2"/>
            </a:endParaRP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</p:txBody>
      </p:sp>
      <p:sp>
        <p:nvSpPr>
          <p:cNvPr id="21" name="Snip Diagonal Corner of Rectangle 20">
            <a:extLst>
              <a:ext uri="{FF2B5EF4-FFF2-40B4-BE49-F238E27FC236}">
                <a16:creationId xmlns:a16="http://schemas.microsoft.com/office/drawing/2014/main" id="{3F66211A-B498-65DB-2BB2-843C34E90C9C}"/>
              </a:ext>
            </a:extLst>
          </p:cNvPr>
          <p:cNvSpPr/>
          <p:nvPr/>
        </p:nvSpPr>
        <p:spPr>
          <a:xfrm>
            <a:off x="117977" y="3975629"/>
            <a:ext cx="1180895" cy="502109"/>
          </a:xfrm>
          <a:prstGeom prst="snip2DiagRect">
            <a:avLst/>
          </a:prstGeom>
          <a:solidFill>
            <a:schemeClr val="bg2">
              <a:lumMod val="75000"/>
              <a:alpha val="490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E. Past het nu om te doen?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…………………………………………….</a:t>
            </a:r>
          </a:p>
        </p:txBody>
      </p:sp>
      <p:sp>
        <p:nvSpPr>
          <p:cNvPr id="37" name="Snip Diagonal Corner of Rectangle 36">
            <a:extLst>
              <a:ext uri="{FF2B5EF4-FFF2-40B4-BE49-F238E27FC236}">
                <a16:creationId xmlns:a16="http://schemas.microsoft.com/office/drawing/2014/main" id="{541EF542-E9D2-7FF9-486F-EF8626047ECB}"/>
              </a:ext>
            </a:extLst>
          </p:cNvPr>
          <p:cNvSpPr/>
          <p:nvPr/>
        </p:nvSpPr>
        <p:spPr>
          <a:xfrm>
            <a:off x="117305" y="4592712"/>
            <a:ext cx="1180895" cy="502109"/>
          </a:xfrm>
          <a:prstGeom prst="snip2DiagRect">
            <a:avLst/>
          </a:prstGeom>
          <a:solidFill>
            <a:schemeClr val="bg2">
              <a:lumMod val="75000"/>
              <a:alpha val="490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F. </a:t>
            </a:r>
            <a:r>
              <a:rPr lang="nl-NL" sz="600" i="1" dirty="0">
                <a:solidFill>
                  <a:srgbClr val="000000"/>
                </a:solidFill>
                <a:latin typeface="Open Sans"/>
                <a:sym typeface="Wingdings" pitchFamily="2" charset="2"/>
              </a:rPr>
              <a:t>F</a:t>
            </a:r>
            <a:r>
              <a:rPr kumimoji="0" lang="nl-NL" sz="6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ocus</a:t>
            </a: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 afgestemd met team?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</p:txBody>
      </p:sp>
      <p:sp>
        <p:nvSpPr>
          <p:cNvPr id="38" name="Snip Diagonal Corner of Rectangle 37">
            <a:extLst>
              <a:ext uri="{FF2B5EF4-FFF2-40B4-BE49-F238E27FC236}">
                <a16:creationId xmlns:a16="http://schemas.microsoft.com/office/drawing/2014/main" id="{C653C083-BDAE-C131-F0C7-F4F7B7C76FC1}"/>
              </a:ext>
            </a:extLst>
          </p:cNvPr>
          <p:cNvSpPr/>
          <p:nvPr/>
        </p:nvSpPr>
        <p:spPr>
          <a:xfrm>
            <a:off x="126464" y="5211288"/>
            <a:ext cx="1180895" cy="502109"/>
          </a:xfrm>
          <a:prstGeom prst="snip2DiagRect">
            <a:avLst/>
          </a:prstGeom>
          <a:solidFill>
            <a:schemeClr val="bg2">
              <a:lumMod val="75000"/>
              <a:alpha val="490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0" indent="0">
              <a:spcBef>
                <a:spcPts val="600"/>
              </a:spcBef>
              <a:buNone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G. </a:t>
            </a: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Verwachte tijdbesteding?</a:t>
            </a:r>
            <a:endParaRPr kumimoji="0" lang="nl-NL" sz="6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  <a:sym typeface="Wingdings" pitchFamily="2" charset="2"/>
            </a:endParaRP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…………………………………………….</a:t>
            </a:r>
          </a:p>
        </p:txBody>
      </p:sp>
      <p:sp>
        <p:nvSpPr>
          <p:cNvPr id="40" name="Snip Diagonal Corner of Rectangle 39">
            <a:extLst>
              <a:ext uri="{FF2B5EF4-FFF2-40B4-BE49-F238E27FC236}">
                <a16:creationId xmlns:a16="http://schemas.microsoft.com/office/drawing/2014/main" id="{3C82789B-C614-CC9A-ABDB-ED7ACE423808}"/>
              </a:ext>
            </a:extLst>
          </p:cNvPr>
          <p:cNvSpPr/>
          <p:nvPr/>
        </p:nvSpPr>
        <p:spPr>
          <a:xfrm>
            <a:off x="125792" y="5828371"/>
            <a:ext cx="1180895" cy="502109"/>
          </a:xfrm>
          <a:prstGeom prst="snip2DiagRect">
            <a:avLst/>
          </a:prstGeom>
          <a:solidFill>
            <a:schemeClr val="bg2">
              <a:lumMod val="75000"/>
              <a:alpha val="490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lvl="0" indent="0">
              <a:spcBef>
                <a:spcPts val="600"/>
              </a:spcBef>
              <a:buNone/>
              <a:defRPr/>
            </a:pPr>
            <a:r>
              <a:rPr lang="nl-NL" sz="600" i="1" dirty="0">
                <a:solidFill>
                  <a:srgbClr val="000000"/>
                </a:solidFill>
                <a:sym typeface="Wingdings" pitchFamily="2" charset="2"/>
              </a:rPr>
              <a:t>H. Wat is er vooraf nodig?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  <a:p>
            <a:pPr marL="0" marR="0" lvl="0" indent="0" algn="l" defTabSz="536322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nl-NL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Wingdings" pitchFamily="2" charset="2"/>
              </a:rPr>
              <a:t>……………………………………………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E86DEDA-B591-129F-01B0-2F536E1E92E2}"/>
              </a:ext>
            </a:extLst>
          </p:cNvPr>
          <p:cNvSpPr txBox="1"/>
          <p:nvPr/>
        </p:nvSpPr>
        <p:spPr>
          <a:xfrm>
            <a:off x="7661566" y="6471215"/>
            <a:ext cx="1849097" cy="3282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200"/>
              </a:spcBef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Contact:	 Harry van Vliet </a:t>
            </a:r>
            <a:r>
              <a:rPr lang="nl-NL" sz="600" i="1" dirty="0">
                <a:solidFill>
                  <a:schemeClr val="bg1">
                    <a:lumMod val="50000"/>
                  </a:schemeClr>
                </a:solidFill>
                <a:hlinkClick r:id="rId8"/>
              </a:rPr>
              <a:t>h.m.m.van.vliet@hva.nl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 algn="r">
              <a:spcBef>
                <a:spcPts val="200"/>
              </a:spcBef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Ruben Logjes </a:t>
            </a:r>
            <a:r>
              <a:rPr lang="nl-NL" sz="600" i="1" dirty="0">
                <a:solidFill>
                  <a:schemeClr val="bg1">
                    <a:lumMod val="50000"/>
                  </a:schemeClr>
                </a:solidFill>
                <a:hlinkClick r:id="rId9"/>
              </a:rPr>
              <a:t>r.p.m.logjes@hva.nl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 algn="r">
              <a:spcBef>
                <a:spcPts val="200"/>
              </a:spcBef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Eline Flux </a:t>
            </a:r>
            <a:r>
              <a:rPr lang="nl-NL" sz="600" i="1" dirty="0">
                <a:solidFill>
                  <a:schemeClr val="bg1">
                    <a:lumMod val="50000"/>
                  </a:schemeClr>
                </a:solidFill>
                <a:hlinkClick r:id="rId10"/>
              </a:rPr>
              <a:t>h.m.flux@hva.nl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50280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706D826-5181-9919-8039-1CA6A02917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F5C410A6-36D9-9037-BA48-9AA07160F3C1}"/>
              </a:ext>
            </a:extLst>
          </p:cNvPr>
          <p:cNvGrpSpPr/>
          <p:nvPr/>
        </p:nvGrpSpPr>
        <p:grpSpPr>
          <a:xfrm>
            <a:off x="579249" y="1167240"/>
            <a:ext cx="8322435" cy="4523521"/>
            <a:chOff x="156183" y="258552"/>
            <a:chExt cx="8322435" cy="4523521"/>
          </a:xfrm>
        </p:grpSpPr>
        <p:sp>
          <p:nvSpPr>
            <p:cNvPr id="3" name="Chevron 2">
              <a:extLst>
                <a:ext uri="{FF2B5EF4-FFF2-40B4-BE49-F238E27FC236}">
                  <a16:creationId xmlns:a16="http://schemas.microsoft.com/office/drawing/2014/main" id="{EB0F61BC-7CDE-9953-3ED6-B4202EAFD6C8}"/>
                </a:ext>
              </a:extLst>
            </p:cNvPr>
            <p:cNvSpPr/>
            <p:nvPr/>
          </p:nvSpPr>
          <p:spPr>
            <a:xfrm>
              <a:off x="156183" y="258553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Chevron 5">
              <a:extLst>
                <a:ext uri="{FF2B5EF4-FFF2-40B4-BE49-F238E27FC236}">
                  <a16:creationId xmlns:a16="http://schemas.microsoft.com/office/drawing/2014/main" id="{CDCC7565-0BD7-7E09-BA5E-817068C90AFE}"/>
                </a:ext>
              </a:extLst>
            </p:cNvPr>
            <p:cNvSpPr/>
            <p:nvPr/>
          </p:nvSpPr>
          <p:spPr>
            <a:xfrm>
              <a:off x="1311270" y="258553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Chevron 6">
              <a:extLst>
                <a:ext uri="{FF2B5EF4-FFF2-40B4-BE49-F238E27FC236}">
                  <a16:creationId xmlns:a16="http://schemas.microsoft.com/office/drawing/2014/main" id="{CF629A86-F208-FF1D-7C13-43C736565173}"/>
                </a:ext>
              </a:extLst>
            </p:cNvPr>
            <p:cNvSpPr/>
            <p:nvPr/>
          </p:nvSpPr>
          <p:spPr>
            <a:xfrm>
              <a:off x="2466357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Chevron 7">
              <a:extLst>
                <a:ext uri="{FF2B5EF4-FFF2-40B4-BE49-F238E27FC236}">
                  <a16:creationId xmlns:a16="http://schemas.microsoft.com/office/drawing/2014/main" id="{AD48864B-F9EC-E6AC-2EDF-703962DCE9D9}"/>
                </a:ext>
              </a:extLst>
            </p:cNvPr>
            <p:cNvSpPr/>
            <p:nvPr/>
          </p:nvSpPr>
          <p:spPr>
            <a:xfrm>
              <a:off x="3616609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Chevron 8">
              <a:extLst>
                <a:ext uri="{FF2B5EF4-FFF2-40B4-BE49-F238E27FC236}">
                  <a16:creationId xmlns:a16="http://schemas.microsoft.com/office/drawing/2014/main" id="{BB3621D9-4528-EB6E-08F9-AB80609BA317}"/>
                </a:ext>
              </a:extLst>
            </p:cNvPr>
            <p:cNvSpPr/>
            <p:nvPr/>
          </p:nvSpPr>
          <p:spPr>
            <a:xfrm>
              <a:off x="4771696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CFBC8631-3282-D71C-5509-F96D00164681}"/>
                </a:ext>
              </a:extLst>
            </p:cNvPr>
            <p:cNvSpPr/>
            <p:nvPr/>
          </p:nvSpPr>
          <p:spPr>
            <a:xfrm>
              <a:off x="5921948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Chevron 11">
              <a:extLst>
                <a:ext uri="{FF2B5EF4-FFF2-40B4-BE49-F238E27FC236}">
                  <a16:creationId xmlns:a16="http://schemas.microsoft.com/office/drawing/2014/main" id="{8D17D48F-AF1D-9140-D97E-945A8916B9A7}"/>
                </a:ext>
              </a:extLst>
            </p:cNvPr>
            <p:cNvSpPr/>
            <p:nvPr/>
          </p:nvSpPr>
          <p:spPr>
            <a:xfrm>
              <a:off x="7077035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6669610-2CC8-F664-2656-C4931A0DAA0C}"/>
              </a:ext>
            </a:extLst>
          </p:cNvPr>
          <p:cNvGrpSpPr/>
          <p:nvPr/>
        </p:nvGrpSpPr>
        <p:grpSpPr>
          <a:xfrm>
            <a:off x="579248" y="1167238"/>
            <a:ext cx="8322435" cy="4523519"/>
            <a:chOff x="5484698" y="494150"/>
            <a:chExt cx="2856673" cy="4083290"/>
          </a:xfrm>
        </p:grpSpPr>
        <p:sp>
          <p:nvSpPr>
            <p:cNvPr id="21" name="Round Same-side Corner of Rectangle 20">
              <a:extLst>
                <a:ext uri="{FF2B5EF4-FFF2-40B4-BE49-F238E27FC236}">
                  <a16:creationId xmlns:a16="http://schemas.microsoft.com/office/drawing/2014/main" id="{D89ED5A1-D095-BA07-F0AE-943337AD0937}"/>
                </a:ext>
              </a:extLst>
            </p:cNvPr>
            <p:cNvSpPr/>
            <p:nvPr/>
          </p:nvSpPr>
          <p:spPr>
            <a:xfrm rot="10800000">
              <a:off x="5484698" y="494150"/>
              <a:ext cx="2856673" cy="4083290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DCD0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ound Same-side Corner of Rectangle 21">
              <a:extLst>
                <a:ext uri="{FF2B5EF4-FFF2-40B4-BE49-F238E27FC236}">
                  <a16:creationId xmlns:a16="http://schemas.microsoft.com/office/drawing/2014/main" id="{86E9BB2C-7BB9-7653-A284-1CC7B6C97E57}"/>
                </a:ext>
              </a:extLst>
            </p:cNvPr>
            <p:cNvSpPr/>
            <p:nvPr/>
          </p:nvSpPr>
          <p:spPr>
            <a:xfrm rot="10800000">
              <a:off x="5678775" y="494150"/>
              <a:ext cx="2468520" cy="3528470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" name="Round Same-side Corner of Rectangle 1">
              <a:extLst>
                <a:ext uri="{FF2B5EF4-FFF2-40B4-BE49-F238E27FC236}">
                  <a16:creationId xmlns:a16="http://schemas.microsoft.com/office/drawing/2014/main" id="{57F01F6A-85DD-BDB4-4541-6339F1FAAF8A}"/>
                </a:ext>
              </a:extLst>
            </p:cNvPr>
            <p:cNvSpPr/>
            <p:nvPr/>
          </p:nvSpPr>
          <p:spPr>
            <a:xfrm rot="10800000">
              <a:off x="5808919" y="494150"/>
              <a:ext cx="2208231" cy="3156416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DCD0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4" name="Round Same-side Corner of Rectangle 3">
              <a:extLst>
                <a:ext uri="{FF2B5EF4-FFF2-40B4-BE49-F238E27FC236}">
                  <a16:creationId xmlns:a16="http://schemas.microsoft.com/office/drawing/2014/main" id="{ADCFAF9F-7373-EBD6-1BD8-8E2A325872F1}"/>
                </a:ext>
              </a:extLst>
            </p:cNvPr>
            <p:cNvSpPr/>
            <p:nvPr/>
          </p:nvSpPr>
          <p:spPr>
            <a:xfrm rot="10800000">
              <a:off x="5958941" y="494150"/>
              <a:ext cx="1908186" cy="2727536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7" name="Round Same-side Corner of Rectangle 16">
              <a:extLst>
                <a:ext uri="{FF2B5EF4-FFF2-40B4-BE49-F238E27FC236}">
                  <a16:creationId xmlns:a16="http://schemas.microsoft.com/office/drawing/2014/main" id="{BC5EF62D-D0FA-1B83-316C-A6D7B65B8002}"/>
                </a:ext>
              </a:extLst>
            </p:cNvPr>
            <p:cNvSpPr/>
            <p:nvPr/>
          </p:nvSpPr>
          <p:spPr>
            <a:xfrm rot="10800000">
              <a:off x="6097163" y="494150"/>
              <a:ext cx="1631742" cy="2332392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DCD0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Round Same-side Corner of Rectangle 14">
              <a:extLst>
                <a:ext uri="{FF2B5EF4-FFF2-40B4-BE49-F238E27FC236}">
                  <a16:creationId xmlns:a16="http://schemas.microsoft.com/office/drawing/2014/main" id="{B1E3F527-BB0D-A038-1CF3-2A41F9FAC480}"/>
                </a:ext>
              </a:extLst>
            </p:cNvPr>
            <p:cNvSpPr/>
            <p:nvPr/>
          </p:nvSpPr>
          <p:spPr>
            <a:xfrm rot="10800000">
              <a:off x="6208020" y="494150"/>
              <a:ext cx="1410028" cy="2015476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Round Same-side Corner of Rectangle 9">
              <a:extLst>
                <a:ext uri="{FF2B5EF4-FFF2-40B4-BE49-F238E27FC236}">
                  <a16:creationId xmlns:a16="http://schemas.microsoft.com/office/drawing/2014/main" id="{8F7574E9-F2F6-2607-3896-E1EC8721703F}"/>
                </a:ext>
              </a:extLst>
            </p:cNvPr>
            <p:cNvSpPr/>
            <p:nvPr/>
          </p:nvSpPr>
          <p:spPr>
            <a:xfrm rot="10800000">
              <a:off x="6376026" y="494151"/>
              <a:ext cx="1074017" cy="1535186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DCD0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57854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72ED9B0-C4B7-EA2E-F55E-B1AFC4A6B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167FD87E-48B5-D707-7C6B-7F63F0C61E12}"/>
              </a:ext>
            </a:extLst>
          </p:cNvPr>
          <p:cNvGrpSpPr/>
          <p:nvPr/>
        </p:nvGrpSpPr>
        <p:grpSpPr>
          <a:xfrm>
            <a:off x="4501125" y="5707122"/>
            <a:ext cx="903757" cy="249879"/>
            <a:chOff x="4382565" y="4729735"/>
            <a:chExt cx="903757" cy="249879"/>
          </a:xfrm>
        </p:grpSpPr>
        <p:sp>
          <p:nvSpPr>
            <p:cNvPr id="4" name="Chevron 3">
              <a:extLst>
                <a:ext uri="{FF2B5EF4-FFF2-40B4-BE49-F238E27FC236}">
                  <a16:creationId xmlns:a16="http://schemas.microsoft.com/office/drawing/2014/main" id="{DABA44C5-B66B-79E4-4DD0-FF0A3981554C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2FE1E2FF-3D74-AC88-9644-74EBCEA3DE55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EFA586-91F2-C7E0-4309-B90C65BC514A}"/>
              </a:ext>
            </a:extLst>
          </p:cNvPr>
          <p:cNvGrpSpPr/>
          <p:nvPr/>
        </p:nvGrpSpPr>
        <p:grpSpPr>
          <a:xfrm rot="10800000">
            <a:off x="4501125" y="896200"/>
            <a:ext cx="903757" cy="249879"/>
            <a:chOff x="3930686" y="1974973"/>
            <a:chExt cx="903757" cy="249879"/>
          </a:xfrm>
        </p:grpSpPr>
        <p:sp>
          <p:nvSpPr>
            <p:cNvPr id="2" name="Chevron 1">
              <a:extLst>
                <a:ext uri="{FF2B5EF4-FFF2-40B4-BE49-F238E27FC236}">
                  <a16:creationId xmlns:a16="http://schemas.microsoft.com/office/drawing/2014/main" id="{7583B2E1-E4FE-CD08-48E4-6103FD1A721F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hevron 4">
              <a:extLst>
                <a:ext uri="{FF2B5EF4-FFF2-40B4-BE49-F238E27FC236}">
                  <a16:creationId xmlns:a16="http://schemas.microsoft.com/office/drawing/2014/main" id="{46897B8B-6466-C0B3-C984-7463D5A644C7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8D88C71-8AFA-C511-5F35-AB91B62B13F5}"/>
              </a:ext>
            </a:extLst>
          </p:cNvPr>
          <p:cNvGrpSpPr/>
          <p:nvPr/>
        </p:nvGrpSpPr>
        <p:grpSpPr>
          <a:xfrm rot="16200000">
            <a:off x="8879924" y="3304064"/>
            <a:ext cx="903757" cy="249879"/>
            <a:chOff x="4382565" y="4729735"/>
            <a:chExt cx="903757" cy="249879"/>
          </a:xfrm>
        </p:grpSpPr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0774D253-6DC1-D8AD-9917-7ACFB6EE14AA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hevron 14">
              <a:extLst>
                <a:ext uri="{FF2B5EF4-FFF2-40B4-BE49-F238E27FC236}">
                  <a16:creationId xmlns:a16="http://schemas.microsoft.com/office/drawing/2014/main" id="{79505888-3D74-0E86-7F6A-5B88DF0D1EC5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EB90EA3-EBC6-25C3-C311-5FB58C811725}"/>
              </a:ext>
            </a:extLst>
          </p:cNvPr>
          <p:cNvGrpSpPr/>
          <p:nvPr/>
        </p:nvGrpSpPr>
        <p:grpSpPr>
          <a:xfrm rot="5400000">
            <a:off x="100801" y="3304063"/>
            <a:ext cx="903757" cy="249879"/>
            <a:chOff x="3930686" y="1974973"/>
            <a:chExt cx="903757" cy="249879"/>
          </a:xfrm>
        </p:grpSpPr>
        <p:sp>
          <p:nvSpPr>
            <p:cNvPr id="17" name="Chevron 16">
              <a:extLst>
                <a:ext uri="{FF2B5EF4-FFF2-40B4-BE49-F238E27FC236}">
                  <a16:creationId xmlns:a16="http://schemas.microsoft.com/office/drawing/2014/main" id="{540A84B0-1B6F-0A81-4D7E-5B82C151C637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Chevron 17">
              <a:extLst>
                <a:ext uri="{FF2B5EF4-FFF2-40B4-BE49-F238E27FC236}">
                  <a16:creationId xmlns:a16="http://schemas.microsoft.com/office/drawing/2014/main" id="{9530C9C3-99C2-BC30-7A72-CBE8B180C142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365773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CD23B41-CA37-402D-BE38-2DB9C589A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BCCAC18-A7E0-247D-9616-FF7DF742768F}"/>
              </a:ext>
            </a:extLst>
          </p:cNvPr>
          <p:cNvGrpSpPr/>
          <p:nvPr/>
        </p:nvGrpSpPr>
        <p:grpSpPr>
          <a:xfrm>
            <a:off x="1420586" y="766895"/>
            <a:ext cx="7021285" cy="4891304"/>
            <a:chOff x="756502" y="731492"/>
            <a:chExt cx="8340291" cy="525070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0713E5F-9650-F6D4-3892-9B7939ACABDD}"/>
                </a:ext>
              </a:extLst>
            </p:cNvPr>
            <p:cNvGrpSpPr/>
            <p:nvPr/>
          </p:nvGrpSpPr>
          <p:grpSpPr>
            <a:xfrm>
              <a:off x="1284448" y="1659237"/>
              <a:ext cx="7343946" cy="4322955"/>
              <a:chOff x="5808919" y="494150"/>
              <a:chExt cx="2208231" cy="3086328"/>
            </a:xfrm>
            <a:solidFill>
              <a:schemeClr val="bg2">
                <a:lumMod val="95000"/>
              </a:schemeClr>
            </a:solidFill>
          </p:grpSpPr>
          <p:sp>
            <p:nvSpPr>
              <p:cNvPr id="53" name="Round Same-side Corner of Rectangle 52">
                <a:extLst>
                  <a:ext uri="{FF2B5EF4-FFF2-40B4-BE49-F238E27FC236}">
                    <a16:creationId xmlns:a16="http://schemas.microsoft.com/office/drawing/2014/main" id="{9B09708A-4D92-1B2B-9DE8-01204F98D1C8}"/>
                  </a:ext>
                </a:extLst>
              </p:cNvPr>
              <p:cNvSpPr/>
              <p:nvPr/>
            </p:nvSpPr>
            <p:spPr>
              <a:xfrm rot="10800000">
                <a:off x="5808919" y="494150"/>
                <a:ext cx="2208231" cy="3086328"/>
              </a:xfrm>
              <a:prstGeom prst="round2SameRect">
                <a:avLst>
                  <a:gd name="adj1" fmla="val 45567"/>
                  <a:gd name="adj2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Round Same-side Corner of Rectangle 54">
                <a:extLst>
                  <a:ext uri="{FF2B5EF4-FFF2-40B4-BE49-F238E27FC236}">
                    <a16:creationId xmlns:a16="http://schemas.microsoft.com/office/drawing/2014/main" id="{A66E3C80-555C-0602-7EC9-883991FA5F4C}"/>
                  </a:ext>
                </a:extLst>
              </p:cNvPr>
              <p:cNvSpPr/>
              <p:nvPr/>
            </p:nvSpPr>
            <p:spPr>
              <a:xfrm rot="10800000">
                <a:off x="6097163" y="494150"/>
                <a:ext cx="1631742" cy="2397250"/>
              </a:xfrm>
              <a:prstGeom prst="round2SameRect">
                <a:avLst>
                  <a:gd name="adj1" fmla="val 45567"/>
                  <a:gd name="adj2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Round Same-side Corner of Rectangle 55">
                <a:extLst>
                  <a:ext uri="{FF2B5EF4-FFF2-40B4-BE49-F238E27FC236}">
                    <a16:creationId xmlns:a16="http://schemas.microsoft.com/office/drawing/2014/main" id="{6AABF1E2-04EE-0114-422A-E3B8738C18F2}"/>
                  </a:ext>
                </a:extLst>
              </p:cNvPr>
              <p:cNvSpPr/>
              <p:nvPr/>
            </p:nvSpPr>
            <p:spPr>
              <a:xfrm rot="10800000">
                <a:off x="6208020" y="494150"/>
                <a:ext cx="1410028" cy="2015476"/>
              </a:xfrm>
              <a:prstGeom prst="round2SameRect">
                <a:avLst>
                  <a:gd name="adj1" fmla="val 45567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" name="Triangle 2">
              <a:extLst>
                <a:ext uri="{FF2B5EF4-FFF2-40B4-BE49-F238E27FC236}">
                  <a16:creationId xmlns:a16="http://schemas.microsoft.com/office/drawing/2014/main" id="{ECD226E5-6002-432B-8BBF-86285B841C9F}"/>
                </a:ext>
              </a:extLst>
            </p:cNvPr>
            <p:cNvSpPr/>
            <p:nvPr/>
          </p:nvSpPr>
          <p:spPr>
            <a:xfrm>
              <a:off x="6742493" y="731492"/>
              <a:ext cx="2354300" cy="1154196"/>
            </a:xfrm>
            <a:prstGeom prst="triangle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Triangle 6">
              <a:extLst>
                <a:ext uri="{FF2B5EF4-FFF2-40B4-BE49-F238E27FC236}">
                  <a16:creationId xmlns:a16="http://schemas.microsoft.com/office/drawing/2014/main" id="{83CAA058-FC4B-FD37-21B4-1F1EDCCA1414}"/>
                </a:ext>
              </a:extLst>
            </p:cNvPr>
            <p:cNvSpPr/>
            <p:nvPr/>
          </p:nvSpPr>
          <p:spPr>
            <a:xfrm rot="10800000">
              <a:off x="756502" y="1237117"/>
              <a:ext cx="2354300" cy="1154196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Triangle 5">
              <a:extLst>
                <a:ext uri="{FF2B5EF4-FFF2-40B4-BE49-F238E27FC236}">
                  <a16:creationId xmlns:a16="http://schemas.microsoft.com/office/drawing/2014/main" id="{CE33EA1F-326F-33E9-1DB0-1CADAAD758BD}"/>
                </a:ext>
              </a:extLst>
            </p:cNvPr>
            <p:cNvSpPr/>
            <p:nvPr/>
          </p:nvSpPr>
          <p:spPr>
            <a:xfrm rot="10800000">
              <a:off x="778959" y="907690"/>
              <a:ext cx="2354300" cy="1154196"/>
            </a:xfrm>
            <a:prstGeom prst="triangle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63083C4-05B7-2816-36EF-23CFC162D8B8}"/>
              </a:ext>
            </a:extLst>
          </p:cNvPr>
          <p:cNvGrpSpPr/>
          <p:nvPr/>
        </p:nvGrpSpPr>
        <p:grpSpPr>
          <a:xfrm>
            <a:off x="4501125" y="6413486"/>
            <a:ext cx="903757" cy="249879"/>
            <a:chOff x="4382565" y="4729735"/>
            <a:chExt cx="903757" cy="249879"/>
          </a:xfrm>
        </p:grpSpPr>
        <p:sp>
          <p:nvSpPr>
            <p:cNvPr id="4" name="Chevron 3">
              <a:extLst>
                <a:ext uri="{FF2B5EF4-FFF2-40B4-BE49-F238E27FC236}">
                  <a16:creationId xmlns:a16="http://schemas.microsoft.com/office/drawing/2014/main" id="{95E7C020-0C6E-2BBE-0FEA-6B48260753EF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48FB5618-2AA7-E946-0081-F2913B483DE4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4E8DE85-4DFB-B529-F02E-3E258F4FE842}"/>
              </a:ext>
            </a:extLst>
          </p:cNvPr>
          <p:cNvGrpSpPr/>
          <p:nvPr/>
        </p:nvGrpSpPr>
        <p:grpSpPr>
          <a:xfrm rot="10800000">
            <a:off x="4501125" y="216158"/>
            <a:ext cx="903757" cy="249879"/>
            <a:chOff x="3930686" y="1974973"/>
            <a:chExt cx="903757" cy="249879"/>
          </a:xfrm>
        </p:grpSpPr>
        <p:sp>
          <p:nvSpPr>
            <p:cNvPr id="2" name="Chevron 1">
              <a:extLst>
                <a:ext uri="{FF2B5EF4-FFF2-40B4-BE49-F238E27FC236}">
                  <a16:creationId xmlns:a16="http://schemas.microsoft.com/office/drawing/2014/main" id="{8E5E966E-3F4F-D1D5-6901-90E4C7600DFF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hevron 4">
              <a:extLst>
                <a:ext uri="{FF2B5EF4-FFF2-40B4-BE49-F238E27FC236}">
                  <a16:creationId xmlns:a16="http://schemas.microsoft.com/office/drawing/2014/main" id="{04F2C905-1409-3B02-33AA-620F08212D24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C998591-25A9-51A6-9936-ACF73C979B42}"/>
              </a:ext>
            </a:extLst>
          </p:cNvPr>
          <p:cNvGrpSpPr/>
          <p:nvPr/>
        </p:nvGrpSpPr>
        <p:grpSpPr>
          <a:xfrm rot="16200000">
            <a:off x="9123887" y="3284505"/>
            <a:ext cx="903757" cy="249879"/>
            <a:chOff x="4382565" y="4729735"/>
            <a:chExt cx="903757" cy="249879"/>
          </a:xfrm>
          <a:solidFill>
            <a:schemeClr val="accent2">
              <a:lumMod val="75000"/>
            </a:schemeClr>
          </a:solidFill>
        </p:grpSpPr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18E154F9-2E1C-12FE-E708-884CCDBD43FF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hevron 14">
              <a:extLst>
                <a:ext uri="{FF2B5EF4-FFF2-40B4-BE49-F238E27FC236}">
                  <a16:creationId xmlns:a16="http://schemas.microsoft.com/office/drawing/2014/main" id="{18589DD6-299B-772B-6429-99999E97132F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1216F55-4CCD-6F3C-2950-A9D457FF38D5}"/>
              </a:ext>
            </a:extLst>
          </p:cNvPr>
          <p:cNvGrpSpPr/>
          <p:nvPr/>
        </p:nvGrpSpPr>
        <p:grpSpPr>
          <a:xfrm rot="5400000">
            <a:off x="-155562" y="3299229"/>
            <a:ext cx="903757" cy="249879"/>
            <a:chOff x="3930686" y="1974973"/>
            <a:chExt cx="903757" cy="249879"/>
          </a:xfrm>
        </p:grpSpPr>
        <p:sp>
          <p:nvSpPr>
            <p:cNvPr id="17" name="Chevron 16">
              <a:extLst>
                <a:ext uri="{FF2B5EF4-FFF2-40B4-BE49-F238E27FC236}">
                  <a16:creationId xmlns:a16="http://schemas.microsoft.com/office/drawing/2014/main" id="{F8C0AE27-2187-22D1-072D-63FD00CA194D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Chevron 17">
              <a:extLst>
                <a:ext uri="{FF2B5EF4-FFF2-40B4-BE49-F238E27FC236}">
                  <a16:creationId xmlns:a16="http://schemas.microsoft.com/office/drawing/2014/main" id="{F2AB82B8-0CC6-FBCB-404D-01E68FB3FA21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9F613BCB-829F-4FCE-D719-D8930DA1C3D9}"/>
              </a:ext>
            </a:extLst>
          </p:cNvPr>
          <p:cNvSpPr txBox="1"/>
          <p:nvPr/>
        </p:nvSpPr>
        <p:spPr>
          <a:xfrm>
            <a:off x="1885935" y="216155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>
                <a:solidFill>
                  <a:schemeClr val="bg1"/>
                </a:solidFill>
              </a:rPr>
              <a:t>Voorbereid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7854045-AD50-6451-1D3B-8D439042725C}"/>
              </a:ext>
            </a:extLst>
          </p:cNvPr>
          <p:cNvSpPr txBox="1"/>
          <p:nvPr/>
        </p:nvSpPr>
        <p:spPr>
          <a:xfrm>
            <a:off x="6622305" y="224619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>
            <a:defPPr marL="0" marR="0" indent="0" algn="l" defTabSz="107264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1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Voortga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AB828E6-802D-43AA-A7E6-ED48E003CB04}"/>
              </a:ext>
            </a:extLst>
          </p:cNvPr>
          <p:cNvSpPr txBox="1"/>
          <p:nvPr/>
        </p:nvSpPr>
        <p:spPr>
          <a:xfrm>
            <a:off x="3541583" y="64475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9684592-0AB2-3E99-D13A-DDF1E2F9F838}"/>
              </a:ext>
            </a:extLst>
          </p:cNvPr>
          <p:cNvSpPr txBox="1"/>
          <p:nvPr/>
        </p:nvSpPr>
        <p:spPr>
          <a:xfrm>
            <a:off x="5404882" y="6447562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Mogelijke verbindingen met subcategorieë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63AF8F4-7EAD-4C75-ED9D-8157045F39DD}"/>
              </a:ext>
            </a:extLst>
          </p:cNvPr>
          <p:cNvSpPr txBox="1"/>
          <p:nvPr/>
        </p:nvSpPr>
        <p:spPr>
          <a:xfrm>
            <a:off x="3541583" y="250359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280082F-EA92-F321-D5CB-9AEEC1278072}"/>
              </a:ext>
            </a:extLst>
          </p:cNvPr>
          <p:cNvSpPr txBox="1"/>
          <p:nvPr/>
        </p:nvSpPr>
        <p:spPr>
          <a:xfrm>
            <a:off x="5404882" y="250360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  verander-</a:t>
            </a:r>
            <a:r>
              <a:rPr lang="nl-NL" sz="600" i="1" dirty="0" err="1">
                <a:solidFill>
                  <a:schemeClr val="bg1">
                    <a:lumMod val="50000"/>
                  </a:schemeClr>
                </a:solidFill>
              </a:rPr>
              <a:t>pyramide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AE737AD-9944-6C85-C485-55C9F66B92D6}"/>
              </a:ext>
            </a:extLst>
          </p:cNvPr>
          <p:cNvSpPr txBox="1"/>
          <p:nvPr/>
        </p:nvSpPr>
        <p:spPr>
          <a:xfrm rot="16200000">
            <a:off x="9152386" y="24777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volgende activitei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8EC4FA-FFED-A2DB-5A1F-EEF6DAA2B360}"/>
              </a:ext>
            </a:extLst>
          </p:cNvPr>
          <p:cNvSpPr txBox="1"/>
          <p:nvPr/>
        </p:nvSpPr>
        <p:spPr>
          <a:xfrm rot="16200000">
            <a:off x="9002963" y="4197792"/>
            <a:ext cx="959541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Reflectie outpu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68F6137-E6DF-AA46-815F-863B968F8032}"/>
              </a:ext>
            </a:extLst>
          </p:cNvPr>
          <p:cNvGrpSpPr/>
          <p:nvPr/>
        </p:nvGrpSpPr>
        <p:grpSpPr>
          <a:xfrm rot="10800000">
            <a:off x="170800" y="2074432"/>
            <a:ext cx="287923" cy="2633403"/>
            <a:chOff x="-28520" y="1297827"/>
            <a:chExt cx="287923" cy="263340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3072F36-A4EB-DF20-8097-536FC6712748}"/>
                </a:ext>
              </a:extLst>
            </p:cNvPr>
            <p:cNvSpPr txBox="1"/>
            <p:nvPr/>
          </p:nvSpPr>
          <p:spPr>
            <a:xfrm rot="16200000">
              <a:off x="-312701" y="1685265"/>
              <a:ext cx="95954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Verbinding met                 vorige activitei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30D1836-0D5B-E6DB-9C85-811C65F1C9D6}"/>
                </a:ext>
              </a:extLst>
            </p:cNvPr>
            <p:cNvSpPr txBox="1"/>
            <p:nvPr/>
          </p:nvSpPr>
          <p:spPr>
            <a:xfrm rot="16200000">
              <a:off x="-462124" y="3405293"/>
              <a:ext cx="95954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Reflectie input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56F1F35-C751-4CB8-2C7F-0BEAD07FCB10}"/>
              </a:ext>
            </a:extLst>
          </p:cNvPr>
          <p:cNvSpPr/>
          <p:nvPr/>
        </p:nvSpPr>
        <p:spPr>
          <a:xfrm>
            <a:off x="616352" y="2032846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0D89218-A173-2B00-2F8E-DC607C8E90D2}"/>
              </a:ext>
            </a:extLst>
          </p:cNvPr>
          <p:cNvSpPr/>
          <p:nvPr/>
        </p:nvSpPr>
        <p:spPr>
          <a:xfrm>
            <a:off x="616352" y="3433998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670F6A2-66CB-1C75-20E3-BA205CCC7E63}"/>
              </a:ext>
            </a:extLst>
          </p:cNvPr>
          <p:cNvSpPr/>
          <p:nvPr/>
        </p:nvSpPr>
        <p:spPr>
          <a:xfrm>
            <a:off x="616352" y="483817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450C31D-2F93-9C10-FBF7-D979A034E4D4}"/>
              </a:ext>
            </a:extLst>
          </p:cNvPr>
          <p:cNvSpPr/>
          <p:nvPr/>
        </p:nvSpPr>
        <p:spPr>
          <a:xfrm>
            <a:off x="616325" y="62715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A44BD0-F944-E8BB-801A-4DC586B33ADB}"/>
              </a:ext>
            </a:extLst>
          </p:cNvPr>
          <p:cNvSpPr/>
          <p:nvPr/>
        </p:nvSpPr>
        <p:spPr>
          <a:xfrm>
            <a:off x="616379" y="631692"/>
            <a:ext cx="8648333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9A61FF8-3F3E-FF98-F51B-6801DCD21AAC}"/>
              </a:ext>
            </a:extLst>
          </p:cNvPr>
          <p:cNvSpPr/>
          <p:nvPr/>
        </p:nvSpPr>
        <p:spPr>
          <a:xfrm>
            <a:off x="616366" y="3437017"/>
            <a:ext cx="8648333" cy="28083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4819D2-58B5-3D5B-A49A-7414897F484F}"/>
              </a:ext>
            </a:extLst>
          </p:cNvPr>
          <p:cNvSpPr/>
          <p:nvPr/>
        </p:nvSpPr>
        <p:spPr>
          <a:xfrm>
            <a:off x="616268" y="625642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C40565D-C309-8BDF-11E3-114A7622B916}"/>
              </a:ext>
            </a:extLst>
          </p:cNvPr>
          <p:cNvSpPr/>
          <p:nvPr/>
        </p:nvSpPr>
        <p:spPr>
          <a:xfrm>
            <a:off x="5668775" y="634715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C0A6494-F02B-8A53-F3D7-A445E2EB92CD}"/>
              </a:ext>
            </a:extLst>
          </p:cNvPr>
          <p:cNvSpPr txBox="1"/>
          <p:nvPr/>
        </p:nvSpPr>
        <p:spPr>
          <a:xfrm>
            <a:off x="4304831" y="867450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Verander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393DBB7-C413-C89C-7D8B-A4C0CB808451}"/>
              </a:ext>
            </a:extLst>
          </p:cNvPr>
          <p:cNvSpPr txBox="1"/>
          <p:nvPr/>
        </p:nvSpPr>
        <p:spPr>
          <a:xfrm>
            <a:off x="4310525" y="2272382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Activitei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A0D1A56-FAD8-6544-7A02-7F39CDF17A6C}"/>
              </a:ext>
            </a:extLst>
          </p:cNvPr>
          <p:cNvSpPr txBox="1"/>
          <p:nvPr/>
        </p:nvSpPr>
        <p:spPr>
          <a:xfrm>
            <a:off x="4319600" y="3669758"/>
            <a:ext cx="12713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Opbrengs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6AA9297-E692-5E7A-9494-3F45BA371271}"/>
              </a:ext>
            </a:extLst>
          </p:cNvPr>
          <p:cNvSpPr txBox="1"/>
          <p:nvPr/>
        </p:nvSpPr>
        <p:spPr>
          <a:xfrm>
            <a:off x="4299194" y="508753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Reflectie</a:t>
            </a:r>
          </a:p>
        </p:txBody>
      </p:sp>
      <p:pic>
        <p:nvPicPr>
          <p:cNvPr id="44" name="directions.png" descr="directions.png">
            <a:extLst>
              <a:ext uri="{FF2B5EF4-FFF2-40B4-BE49-F238E27FC236}">
                <a16:creationId xmlns:a16="http://schemas.microsoft.com/office/drawing/2014/main" id="{51E3A59E-884A-89CC-8077-FDD73E721C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7584" y="119472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0" name="iot.png" descr="iot.png">
            <a:extLst>
              <a:ext uri="{FF2B5EF4-FFF2-40B4-BE49-F238E27FC236}">
                <a16:creationId xmlns:a16="http://schemas.microsoft.com/office/drawing/2014/main" id="{BF1E6297-0A6D-6A18-B73F-ECFE21191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3598" y="540271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map.png" descr="map.png">
            <a:extLst>
              <a:ext uri="{FF2B5EF4-FFF2-40B4-BE49-F238E27FC236}">
                <a16:creationId xmlns:a16="http://schemas.microsoft.com/office/drawing/2014/main" id="{5681242F-234F-E4E3-406B-96EBD15151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4717" y="394929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pencilcross.png" descr="pencilcross.png">
            <a:extLst>
              <a:ext uri="{FF2B5EF4-FFF2-40B4-BE49-F238E27FC236}">
                <a16:creationId xmlns:a16="http://schemas.microsoft.com/office/drawing/2014/main" id="{498C53AD-22DA-5DAB-DE89-082A3B9A8B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8805" y="2600414"/>
            <a:ext cx="688389" cy="688389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9B0080E6-4568-F1D5-E130-52B4F6349901}"/>
              </a:ext>
            </a:extLst>
          </p:cNvPr>
          <p:cNvGrpSpPr/>
          <p:nvPr/>
        </p:nvGrpSpPr>
        <p:grpSpPr>
          <a:xfrm>
            <a:off x="722523" y="1203207"/>
            <a:ext cx="3400441" cy="726480"/>
            <a:chOff x="722523" y="1409359"/>
            <a:chExt cx="3615458" cy="520328"/>
          </a:xfrm>
          <a:solidFill>
            <a:srgbClr val="E0F5DF"/>
          </a:solidFill>
        </p:grpSpPr>
        <p:sp>
          <p:nvSpPr>
            <p:cNvPr id="52" name="Rectangular Callout 51">
              <a:extLst>
                <a:ext uri="{FF2B5EF4-FFF2-40B4-BE49-F238E27FC236}">
                  <a16:creationId xmlns:a16="http://schemas.microsoft.com/office/drawing/2014/main" id="{E11EDDB7-C0AE-DA6D-49F7-4CBC816667EC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tangular Callout 53">
              <a:extLst>
                <a:ext uri="{FF2B5EF4-FFF2-40B4-BE49-F238E27FC236}">
                  <a16:creationId xmlns:a16="http://schemas.microsoft.com/office/drawing/2014/main" id="{C74A2F1E-71EC-87AA-E520-E74B1E35DD82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Rectangular Callout 56">
              <a:extLst>
                <a:ext uri="{FF2B5EF4-FFF2-40B4-BE49-F238E27FC236}">
                  <a16:creationId xmlns:a16="http://schemas.microsoft.com/office/drawing/2014/main" id="{607C39F0-6004-95FD-92B4-7632E8D11E83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CA73406-2E38-5EE8-5856-E7A9860EF659}"/>
              </a:ext>
            </a:extLst>
          </p:cNvPr>
          <p:cNvGrpSpPr/>
          <p:nvPr/>
        </p:nvGrpSpPr>
        <p:grpSpPr>
          <a:xfrm>
            <a:off x="718599" y="728403"/>
            <a:ext cx="3400441" cy="455380"/>
            <a:chOff x="722523" y="1409359"/>
            <a:chExt cx="3615458" cy="520328"/>
          </a:xfrm>
        </p:grpSpPr>
        <p:sp>
          <p:nvSpPr>
            <p:cNvPr id="74" name="Rectangular Callout 73">
              <a:extLst>
                <a:ext uri="{FF2B5EF4-FFF2-40B4-BE49-F238E27FC236}">
                  <a16:creationId xmlns:a16="http://schemas.microsoft.com/office/drawing/2014/main" id="{94453493-E793-0DBA-1D8F-32E4F58CBD88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Formuleer de gewenste verandering</a:t>
              </a:r>
            </a:p>
          </p:txBody>
        </p:sp>
        <p:sp>
          <p:nvSpPr>
            <p:cNvPr id="75" name="Rectangular Callout 74">
              <a:extLst>
                <a:ext uri="{FF2B5EF4-FFF2-40B4-BE49-F238E27FC236}">
                  <a16:creationId xmlns:a16="http://schemas.microsoft.com/office/drawing/2014/main" id="{49C44439-DC55-CCA4-364D-7B390825B383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Verbind dit met een hoger gelegen doel</a:t>
              </a:r>
            </a:p>
          </p:txBody>
        </p:sp>
        <p:sp>
          <p:nvSpPr>
            <p:cNvPr id="76" name="Rectangular Callout 75">
              <a:extLst>
                <a:ext uri="{FF2B5EF4-FFF2-40B4-BE49-F238E27FC236}">
                  <a16:creationId xmlns:a16="http://schemas.microsoft.com/office/drawing/2014/main" id="{383A14C8-6854-5510-FF9B-487C047A04D9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Benoem aannames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85533DD-219C-8495-E2C1-EEAAD095EA2A}"/>
              </a:ext>
            </a:extLst>
          </p:cNvPr>
          <p:cNvGrpSpPr/>
          <p:nvPr/>
        </p:nvGrpSpPr>
        <p:grpSpPr>
          <a:xfrm>
            <a:off x="728627" y="2124960"/>
            <a:ext cx="3400441" cy="455380"/>
            <a:chOff x="722523" y="1409359"/>
            <a:chExt cx="3615458" cy="520328"/>
          </a:xfrm>
        </p:grpSpPr>
        <p:sp>
          <p:nvSpPr>
            <p:cNvPr id="78" name="Rectangular Callout 77">
              <a:extLst>
                <a:ext uri="{FF2B5EF4-FFF2-40B4-BE49-F238E27FC236}">
                  <a16:creationId xmlns:a16="http://schemas.microsoft.com/office/drawing/2014/main" id="{AB0F3C59-8A2F-80DA-AA54-1D97BFA323EE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Formuleer de gewenste verandering</a:t>
              </a:r>
            </a:p>
          </p:txBody>
        </p:sp>
        <p:sp>
          <p:nvSpPr>
            <p:cNvPr id="79" name="Rectangular Callout 78">
              <a:extLst>
                <a:ext uri="{FF2B5EF4-FFF2-40B4-BE49-F238E27FC236}">
                  <a16:creationId xmlns:a16="http://schemas.microsoft.com/office/drawing/2014/main" id="{129BCB5E-E39C-F806-4A24-E737925B48E6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Verbind dit met een hoger gelegen doel</a:t>
              </a:r>
            </a:p>
          </p:txBody>
        </p:sp>
        <p:sp>
          <p:nvSpPr>
            <p:cNvPr id="80" name="Rectangular Callout 79">
              <a:extLst>
                <a:ext uri="{FF2B5EF4-FFF2-40B4-BE49-F238E27FC236}">
                  <a16:creationId xmlns:a16="http://schemas.microsoft.com/office/drawing/2014/main" id="{A5751238-217A-752E-41CD-5ECA66EEB37C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Benoem aannames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26E6F8C-BC8D-0290-16D7-C6832789C815}"/>
              </a:ext>
            </a:extLst>
          </p:cNvPr>
          <p:cNvGrpSpPr/>
          <p:nvPr/>
        </p:nvGrpSpPr>
        <p:grpSpPr>
          <a:xfrm>
            <a:off x="727048" y="3499896"/>
            <a:ext cx="3400441" cy="455380"/>
            <a:chOff x="722523" y="1409359"/>
            <a:chExt cx="3615458" cy="520328"/>
          </a:xfrm>
        </p:grpSpPr>
        <p:sp>
          <p:nvSpPr>
            <p:cNvPr id="82" name="Rectangular Callout 81">
              <a:extLst>
                <a:ext uri="{FF2B5EF4-FFF2-40B4-BE49-F238E27FC236}">
                  <a16:creationId xmlns:a16="http://schemas.microsoft.com/office/drawing/2014/main" id="{E90C0BA5-83F5-0049-42B8-A4674B90CD5D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Formuleer de gewenste verandering</a:t>
              </a:r>
            </a:p>
          </p:txBody>
        </p:sp>
        <p:sp>
          <p:nvSpPr>
            <p:cNvPr id="83" name="Rectangular Callout 82">
              <a:extLst>
                <a:ext uri="{FF2B5EF4-FFF2-40B4-BE49-F238E27FC236}">
                  <a16:creationId xmlns:a16="http://schemas.microsoft.com/office/drawing/2014/main" id="{54AB3DA6-7ECC-A45C-5E82-B99BEDD45E4A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Verbind dit met een hoger gelegen doel</a:t>
              </a:r>
            </a:p>
          </p:txBody>
        </p:sp>
        <p:sp>
          <p:nvSpPr>
            <p:cNvPr id="84" name="Rectangular Callout 83">
              <a:extLst>
                <a:ext uri="{FF2B5EF4-FFF2-40B4-BE49-F238E27FC236}">
                  <a16:creationId xmlns:a16="http://schemas.microsoft.com/office/drawing/2014/main" id="{2FCB00F3-1C8B-C129-736A-BAC7501CD487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Benoem aannames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28EB2456-B0F4-66F8-E289-81F17166CE58}"/>
              </a:ext>
            </a:extLst>
          </p:cNvPr>
          <p:cNvGrpSpPr/>
          <p:nvPr/>
        </p:nvGrpSpPr>
        <p:grpSpPr>
          <a:xfrm>
            <a:off x="722523" y="4917263"/>
            <a:ext cx="3400441" cy="455380"/>
            <a:chOff x="722523" y="1409359"/>
            <a:chExt cx="3615458" cy="520328"/>
          </a:xfrm>
        </p:grpSpPr>
        <p:sp>
          <p:nvSpPr>
            <p:cNvPr id="86" name="Rectangular Callout 85">
              <a:extLst>
                <a:ext uri="{FF2B5EF4-FFF2-40B4-BE49-F238E27FC236}">
                  <a16:creationId xmlns:a16="http://schemas.microsoft.com/office/drawing/2014/main" id="{79881295-8169-0B9F-B1F5-0329278B4382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Formuleer de gewenste verandering</a:t>
              </a:r>
            </a:p>
          </p:txBody>
        </p:sp>
        <p:sp>
          <p:nvSpPr>
            <p:cNvPr id="87" name="Rectangular Callout 86">
              <a:extLst>
                <a:ext uri="{FF2B5EF4-FFF2-40B4-BE49-F238E27FC236}">
                  <a16:creationId xmlns:a16="http://schemas.microsoft.com/office/drawing/2014/main" id="{BA1EA257-5B69-3026-972C-79C6A683C3DD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Verbind dit met een hoger gelegen doel</a:t>
              </a:r>
            </a:p>
          </p:txBody>
        </p:sp>
        <p:sp>
          <p:nvSpPr>
            <p:cNvPr id="90" name="Rectangular Callout 89">
              <a:extLst>
                <a:ext uri="{FF2B5EF4-FFF2-40B4-BE49-F238E27FC236}">
                  <a16:creationId xmlns:a16="http://schemas.microsoft.com/office/drawing/2014/main" id="{1ADAACB3-7F57-1869-6116-55C85A824088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Benoem aannames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A3A2289D-A03C-17B0-BFB3-AF99A4A7D7CF}"/>
              </a:ext>
            </a:extLst>
          </p:cNvPr>
          <p:cNvGrpSpPr/>
          <p:nvPr/>
        </p:nvGrpSpPr>
        <p:grpSpPr>
          <a:xfrm>
            <a:off x="5786960" y="728403"/>
            <a:ext cx="3400441" cy="455380"/>
            <a:chOff x="722523" y="1409359"/>
            <a:chExt cx="3615458" cy="520328"/>
          </a:xfrm>
        </p:grpSpPr>
        <p:sp>
          <p:nvSpPr>
            <p:cNvPr id="92" name="Rectangular Callout 91">
              <a:extLst>
                <a:ext uri="{FF2B5EF4-FFF2-40B4-BE49-F238E27FC236}">
                  <a16:creationId xmlns:a16="http://schemas.microsoft.com/office/drawing/2014/main" id="{C677FB8E-5E10-4DCB-0DFB-E746259F015B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Formuleer de gewenste verandering</a:t>
              </a:r>
            </a:p>
          </p:txBody>
        </p:sp>
        <p:sp>
          <p:nvSpPr>
            <p:cNvPr id="93" name="Rectangular Callout 92">
              <a:extLst>
                <a:ext uri="{FF2B5EF4-FFF2-40B4-BE49-F238E27FC236}">
                  <a16:creationId xmlns:a16="http://schemas.microsoft.com/office/drawing/2014/main" id="{8C8E677B-4232-BD09-8B64-E1B1D5252310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Verbind dit met een hoger gelegen doel</a:t>
              </a:r>
            </a:p>
          </p:txBody>
        </p:sp>
        <p:sp>
          <p:nvSpPr>
            <p:cNvPr id="98" name="Rectangular Callout 97">
              <a:extLst>
                <a:ext uri="{FF2B5EF4-FFF2-40B4-BE49-F238E27FC236}">
                  <a16:creationId xmlns:a16="http://schemas.microsoft.com/office/drawing/2014/main" id="{46C9FD15-D03D-17B3-7103-8248CBAD32D4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Benoem aanname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FCA6DB34-CF96-2748-960C-D72798CB8FE7}"/>
              </a:ext>
            </a:extLst>
          </p:cNvPr>
          <p:cNvGrpSpPr/>
          <p:nvPr/>
        </p:nvGrpSpPr>
        <p:grpSpPr>
          <a:xfrm>
            <a:off x="5796988" y="2124960"/>
            <a:ext cx="3400441" cy="455380"/>
            <a:chOff x="722523" y="1409359"/>
            <a:chExt cx="3615458" cy="520328"/>
          </a:xfrm>
        </p:grpSpPr>
        <p:sp>
          <p:nvSpPr>
            <p:cNvPr id="100" name="Rectangular Callout 99">
              <a:extLst>
                <a:ext uri="{FF2B5EF4-FFF2-40B4-BE49-F238E27FC236}">
                  <a16:creationId xmlns:a16="http://schemas.microsoft.com/office/drawing/2014/main" id="{6579A295-9671-6AAF-E717-989DDF63626D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Formuleer de gewenste verandering</a:t>
              </a:r>
            </a:p>
          </p:txBody>
        </p:sp>
        <p:sp>
          <p:nvSpPr>
            <p:cNvPr id="101" name="Rectangular Callout 100">
              <a:extLst>
                <a:ext uri="{FF2B5EF4-FFF2-40B4-BE49-F238E27FC236}">
                  <a16:creationId xmlns:a16="http://schemas.microsoft.com/office/drawing/2014/main" id="{72BD3D06-42A7-97B0-760E-B92913141A3B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Verbind dit met een hoger gelegen doel</a:t>
              </a:r>
            </a:p>
          </p:txBody>
        </p:sp>
        <p:sp>
          <p:nvSpPr>
            <p:cNvPr id="102" name="Rectangular Callout 101">
              <a:extLst>
                <a:ext uri="{FF2B5EF4-FFF2-40B4-BE49-F238E27FC236}">
                  <a16:creationId xmlns:a16="http://schemas.microsoft.com/office/drawing/2014/main" id="{8BD4AEEB-8DB0-70AB-6BFB-C2279BD2EFB6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Benoem aannames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FCA8CD57-9593-3A31-52ED-CBE05D920297}"/>
              </a:ext>
            </a:extLst>
          </p:cNvPr>
          <p:cNvGrpSpPr/>
          <p:nvPr/>
        </p:nvGrpSpPr>
        <p:grpSpPr>
          <a:xfrm>
            <a:off x="5795409" y="3499896"/>
            <a:ext cx="3400441" cy="455380"/>
            <a:chOff x="722523" y="1409359"/>
            <a:chExt cx="3615458" cy="520328"/>
          </a:xfrm>
        </p:grpSpPr>
        <p:sp>
          <p:nvSpPr>
            <p:cNvPr id="104" name="Rectangular Callout 103">
              <a:extLst>
                <a:ext uri="{FF2B5EF4-FFF2-40B4-BE49-F238E27FC236}">
                  <a16:creationId xmlns:a16="http://schemas.microsoft.com/office/drawing/2014/main" id="{3CF2B9AE-1906-DD11-B8BB-B6708998E6E3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Formuleer de gewenste verandering</a:t>
              </a:r>
            </a:p>
          </p:txBody>
        </p:sp>
        <p:sp>
          <p:nvSpPr>
            <p:cNvPr id="105" name="Rectangular Callout 104">
              <a:extLst>
                <a:ext uri="{FF2B5EF4-FFF2-40B4-BE49-F238E27FC236}">
                  <a16:creationId xmlns:a16="http://schemas.microsoft.com/office/drawing/2014/main" id="{50DEED64-015E-5482-2026-9300FA708689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Verbind dit met een hoger gelegen doel</a:t>
              </a:r>
            </a:p>
          </p:txBody>
        </p:sp>
        <p:sp>
          <p:nvSpPr>
            <p:cNvPr id="106" name="Rectangular Callout 105">
              <a:extLst>
                <a:ext uri="{FF2B5EF4-FFF2-40B4-BE49-F238E27FC236}">
                  <a16:creationId xmlns:a16="http://schemas.microsoft.com/office/drawing/2014/main" id="{7B6539DD-FBC0-2C03-092A-C87959C80226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Benoem aannames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13C45456-3843-4348-14E1-D62DD08B4693}"/>
              </a:ext>
            </a:extLst>
          </p:cNvPr>
          <p:cNvGrpSpPr/>
          <p:nvPr/>
        </p:nvGrpSpPr>
        <p:grpSpPr>
          <a:xfrm>
            <a:off x="5790884" y="4917263"/>
            <a:ext cx="3400441" cy="455380"/>
            <a:chOff x="722523" y="1409359"/>
            <a:chExt cx="3615458" cy="520328"/>
          </a:xfrm>
        </p:grpSpPr>
        <p:sp>
          <p:nvSpPr>
            <p:cNvPr id="108" name="Rectangular Callout 107">
              <a:extLst>
                <a:ext uri="{FF2B5EF4-FFF2-40B4-BE49-F238E27FC236}">
                  <a16:creationId xmlns:a16="http://schemas.microsoft.com/office/drawing/2014/main" id="{AF08F711-E69B-CFD1-5FC2-0F25E3A9A791}"/>
                </a:ext>
              </a:extLst>
            </p:cNvPr>
            <p:cNvSpPr/>
            <p:nvPr/>
          </p:nvSpPr>
          <p:spPr>
            <a:xfrm>
              <a:off x="72252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Formuleer de gewenste verandering</a:t>
              </a:r>
            </a:p>
          </p:txBody>
        </p:sp>
        <p:sp>
          <p:nvSpPr>
            <p:cNvPr id="109" name="Rectangular Callout 108">
              <a:extLst>
                <a:ext uri="{FF2B5EF4-FFF2-40B4-BE49-F238E27FC236}">
                  <a16:creationId xmlns:a16="http://schemas.microsoft.com/office/drawing/2014/main" id="{6DD44A19-197D-667A-A617-C9D3C774AA15}"/>
                </a:ext>
              </a:extLst>
            </p:cNvPr>
            <p:cNvSpPr/>
            <p:nvPr/>
          </p:nvSpPr>
          <p:spPr>
            <a:xfrm>
              <a:off x="1947393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Verbind dit met een hoger gelegen doel</a:t>
              </a:r>
            </a:p>
          </p:txBody>
        </p:sp>
        <p:sp>
          <p:nvSpPr>
            <p:cNvPr id="110" name="Rectangular Callout 109">
              <a:extLst>
                <a:ext uri="{FF2B5EF4-FFF2-40B4-BE49-F238E27FC236}">
                  <a16:creationId xmlns:a16="http://schemas.microsoft.com/office/drawing/2014/main" id="{010C97D1-4413-E58B-58E8-B01878D7B4CD}"/>
                </a:ext>
              </a:extLst>
            </p:cNvPr>
            <p:cNvSpPr/>
            <p:nvPr/>
          </p:nvSpPr>
          <p:spPr>
            <a:xfrm>
              <a:off x="3168904" y="1409359"/>
              <a:ext cx="1169077" cy="520328"/>
            </a:xfrm>
            <a:prstGeom prst="wedgeRectCallout">
              <a:avLst/>
            </a:prstGeom>
            <a:solidFill>
              <a:srgbClr val="BDEABB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None/>
              </a:pPr>
              <a:r>
                <a:rPr lang="nl-NL" sz="800" dirty="0">
                  <a:solidFill>
                    <a:schemeClr val="tx1"/>
                  </a:solidFill>
                </a:rPr>
                <a:t>Benoem aannam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498970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7C6061F-8F71-15FB-57BB-A3B13CCFC2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012DDCE-AC03-668A-32B7-8883241E4B20}"/>
              </a:ext>
            </a:extLst>
          </p:cNvPr>
          <p:cNvGrpSpPr/>
          <p:nvPr/>
        </p:nvGrpSpPr>
        <p:grpSpPr>
          <a:xfrm>
            <a:off x="1376059" y="766895"/>
            <a:ext cx="7117579" cy="4891304"/>
            <a:chOff x="756502" y="731492"/>
            <a:chExt cx="8340291" cy="525070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9ECAF7F-A44D-E81C-EEE7-1108FE4574B4}"/>
                </a:ext>
              </a:extLst>
            </p:cNvPr>
            <p:cNvGrpSpPr/>
            <p:nvPr/>
          </p:nvGrpSpPr>
          <p:grpSpPr>
            <a:xfrm>
              <a:off x="1284448" y="1659237"/>
              <a:ext cx="7343946" cy="4322955"/>
              <a:chOff x="5808919" y="494150"/>
              <a:chExt cx="2208231" cy="3086328"/>
            </a:xfrm>
            <a:solidFill>
              <a:schemeClr val="bg2">
                <a:lumMod val="95000"/>
              </a:schemeClr>
            </a:solidFill>
          </p:grpSpPr>
          <p:sp>
            <p:nvSpPr>
              <p:cNvPr id="53" name="Round Same-side Corner of Rectangle 52">
                <a:extLst>
                  <a:ext uri="{FF2B5EF4-FFF2-40B4-BE49-F238E27FC236}">
                    <a16:creationId xmlns:a16="http://schemas.microsoft.com/office/drawing/2014/main" id="{D0277AC7-6942-EAA2-F7FB-B01CC4229A4C}"/>
                  </a:ext>
                </a:extLst>
              </p:cNvPr>
              <p:cNvSpPr/>
              <p:nvPr/>
            </p:nvSpPr>
            <p:spPr>
              <a:xfrm rot="10800000">
                <a:off x="5808919" y="494150"/>
                <a:ext cx="2208231" cy="3086328"/>
              </a:xfrm>
              <a:prstGeom prst="round2SameRect">
                <a:avLst>
                  <a:gd name="adj1" fmla="val 45567"/>
                  <a:gd name="adj2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Round Same-side Corner of Rectangle 54">
                <a:extLst>
                  <a:ext uri="{FF2B5EF4-FFF2-40B4-BE49-F238E27FC236}">
                    <a16:creationId xmlns:a16="http://schemas.microsoft.com/office/drawing/2014/main" id="{212C3D17-8D1B-F29A-CAAB-522A2238ECA0}"/>
                  </a:ext>
                </a:extLst>
              </p:cNvPr>
              <p:cNvSpPr/>
              <p:nvPr/>
            </p:nvSpPr>
            <p:spPr>
              <a:xfrm rot="10800000">
                <a:off x="6097163" y="494150"/>
                <a:ext cx="1631742" cy="2397250"/>
              </a:xfrm>
              <a:prstGeom prst="round2SameRect">
                <a:avLst>
                  <a:gd name="adj1" fmla="val 45567"/>
                  <a:gd name="adj2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Round Same-side Corner of Rectangle 55">
                <a:extLst>
                  <a:ext uri="{FF2B5EF4-FFF2-40B4-BE49-F238E27FC236}">
                    <a16:creationId xmlns:a16="http://schemas.microsoft.com/office/drawing/2014/main" id="{0D915D1D-1BE1-DDA5-740E-37DAEDF9A16D}"/>
                  </a:ext>
                </a:extLst>
              </p:cNvPr>
              <p:cNvSpPr/>
              <p:nvPr/>
            </p:nvSpPr>
            <p:spPr>
              <a:xfrm rot="10800000">
                <a:off x="6208020" y="494150"/>
                <a:ext cx="1410028" cy="2015476"/>
              </a:xfrm>
              <a:prstGeom prst="round2SameRect">
                <a:avLst>
                  <a:gd name="adj1" fmla="val 45567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nl-NL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" name="Triangle 2">
              <a:extLst>
                <a:ext uri="{FF2B5EF4-FFF2-40B4-BE49-F238E27FC236}">
                  <a16:creationId xmlns:a16="http://schemas.microsoft.com/office/drawing/2014/main" id="{C6581042-419E-F9B4-56A1-BB1D07853405}"/>
                </a:ext>
              </a:extLst>
            </p:cNvPr>
            <p:cNvSpPr/>
            <p:nvPr/>
          </p:nvSpPr>
          <p:spPr>
            <a:xfrm>
              <a:off x="6742493" y="731492"/>
              <a:ext cx="2354300" cy="1154196"/>
            </a:xfrm>
            <a:prstGeom prst="triangle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Triangle 6">
              <a:extLst>
                <a:ext uri="{FF2B5EF4-FFF2-40B4-BE49-F238E27FC236}">
                  <a16:creationId xmlns:a16="http://schemas.microsoft.com/office/drawing/2014/main" id="{E9CE8179-E503-5C56-D6B9-D82B193264BF}"/>
                </a:ext>
              </a:extLst>
            </p:cNvPr>
            <p:cNvSpPr/>
            <p:nvPr/>
          </p:nvSpPr>
          <p:spPr>
            <a:xfrm rot="10800000">
              <a:off x="756502" y="1237117"/>
              <a:ext cx="2354300" cy="1154196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Triangle 5">
              <a:extLst>
                <a:ext uri="{FF2B5EF4-FFF2-40B4-BE49-F238E27FC236}">
                  <a16:creationId xmlns:a16="http://schemas.microsoft.com/office/drawing/2014/main" id="{66486302-41A2-6AC2-21B8-840DD73B7DFA}"/>
                </a:ext>
              </a:extLst>
            </p:cNvPr>
            <p:cNvSpPr/>
            <p:nvPr/>
          </p:nvSpPr>
          <p:spPr>
            <a:xfrm rot="10800000">
              <a:off x="778959" y="907690"/>
              <a:ext cx="2354300" cy="1154196"/>
            </a:xfrm>
            <a:prstGeom prst="triangle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98A6A58-DA64-2274-8DE6-A9845E08A4A7}"/>
              </a:ext>
            </a:extLst>
          </p:cNvPr>
          <p:cNvGrpSpPr/>
          <p:nvPr/>
        </p:nvGrpSpPr>
        <p:grpSpPr>
          <a:xfrm>
            <a:off x="4501125" y="6413486"/>
            <a:ext cx="903757" cy="249879"/>
            <a:chOff x="4382565" y="4729735"/>
            <a:chExt cx="903757" cy="249879"/>
          </a:xfrm>
        </p:grpSpPr>
        <p:sp>
          <p:nvSpPr>
            <p:cNvPr id="4" name="Chevron 3">
              <a:extLst>
                <a:ext uri="{FF2B5EF4-FFF2-40B4-BE49-F238E27FC236}">
                  <a16:creationId xmlns:a16="http://schemas.microsoft.com/office/drawing/2014/main" id="{71C5BEE8-D8FD-6580-E8E1-3C9EC9C6A60D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F0668122-BE02-A284-8B05-E6006CE8FCFF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3856726-D56C-C408-C7E9-88C70A6A5871}"/>
              </a:ext>
            </a:extLst>
          </p:cNvPr>
          <p:cNvGrpSpPr/>
          <p:nvPr/>
        </p:nvGrpSpPr>
        <p:grpSpPr>
          <a:xfrm rot="10800000">
            <a:off x="4501125" y="216158"/>
            <a:ext cx="903757" cy="249879"/>
            <a:chOff x="3930686" y="1974973"/>
            <a:chExt cx="903757" cy="249879"/>
          </a:xfrm>
        </p:grpSpPr>
        <p:sp>
          <p:nvSpPr>
            <p:cNvPr id="2" name="Chevron 1">
              <a:extLst>
                <a:ext uri="{FF2B5EF4-FFF2-40B4-BE49-F238E27FC236}">
                  <a16:creationId xmlns:a16="http://schemas.microsoft.com/office/drawing/2014/main" id="{4C3D54AA-B219-5FD0-9F8D-3BA9CB3BCCD1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hevron 4">
              <a:extLst>
                <a:ext uri="{FF2B5EF4-FFF2-40B4-BE49-F238E27FC236}">
                  <a16:creationId xmlns:a16="http://schemas.microsoft.com/office/drawing/2014/main" id="{A04AD574-D7BB-4558-3E2A-91D835D5D62F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E3C449-5158-6508-EAD0-515E9317EDAC}"/>
              </a:ext>
            </a:extLst>
          </p:cNvPr>
          <p:cNvGrpSpPr/>
          <p:nvPr/>
        </p:nvGrpSpPr>
        <p:grpSpPr>
          <a:xfrm rot="16200000">
            <a:off x="9123887" y="3284505"/>
            <a:ext cx="903757" cy="249879"/>
            <a:chOff x="4382565" y="4729735"/>
            <a:chExt cx="903757" cy="249879"/>
          </a:xfrm>
          <a:solidFill>
            <a:schemeClr val="accent2">
              <a:lumMod val="75000"/>
            </a:schemeClr>
          </a:solidFill>
        </p:grpSpPr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EF68B2F7-C9B5-05E0-4881-55D2502A820B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hevron 14">
              <a:extLst>
                <a:ext uri="{FF2B5EF4-FFF2-40B4-BE49-F238E27FC236}">
                  <a16:creationId xmlns:a16="http://schemas.microsoft.com/office/drawing/2014/main" id="{9972EC10-16BF-7C1D-BFE2-297FEDD313E6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A20F9F4-4DF8-213D-6563-B06A0D75E7A4}"/>
              </a:ext>
            </a:extLst>
          </p:cNvPr>
          <p:cNvGrpSpPr/>
          <p:nvPr/>
        </p:nvGrpSpPr>
        <p:grpSpPr>
          <a:xfrm rot="5400000">
            <a:off x="-155562" y="3299229"/>
            <a:ext cx="903757" cy="249879"/>
            <a:chOff x="3930686" y="1974973"/>
            <a:chExt cx="903757" cy="249879"/>
          </a:xfrm>
        </p:grpSpPr>
        <p:sp>
          <p:nvSpPr>
            <p:cNvPr id="17" name="Chevron 16">
              <a:extLst>
                <a:ext uri="{FF2B5EF4-FFF2-40B4-BE49-F238E27FC236}">
                  <a16:creationId xmlns:a16="http://schemas.microsoft.com/office/drawing/2014/main" id="{96C3B389-EB61-9A6F-CFD8-A43D133F5204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Chevron 17">
              <a:extLst>
                <a:ext uri="{FF2B5EF4-FFF2-40B4-BE49-F238E27FC236}">
                  <a16:creationId xmlns:a16="http://schemas.microsoft.com/office/drawing/2014/main" id="{DB6AE4F2-416A-E3E6-4A30-28787B6042D1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0890EA22-0C91-DB1B-DACB-C052EA2B5A5C}"/>
              </a:ext>
            </a:extLst>
          </p:cNvPr>
          <p:cNvSpPr txBox="1"/>
          <p:nvPr/>
        </p:nvSpPr>
        <p:spPr>
          <a:xfrm>
            <a:off x="1885935" y="216155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>
                <a:solidFill>
                  <a:schemeClr val="bg1"/>
                </a:solidFill>
              </a:rPr>
              <a:t>Voorbereid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DF6D025-08E9-E315-614F-C21A9DC06F5D}"/>
              </a:ext>
            </a:extLst>
          </p:cNvPr>
          <p:cNvSpPr txBox="1"/>
          <p:nvPr/>
        </p:nvSpPr>
        <p:spPr>
          <a:xfrm>
            <a:off x="6622305" y="224619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>
            <a:defPPr marL="0" marR="0" indent="0" algn="l" defTabSz="107264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1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Voortga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C0EE7DB-92B2-AD4D-97EA-26FA8A8F6DB3}"/>
              </a:ext>
            </a:extLst>
          </p:cNvPr>
          <p:cNvSpPr txBox="1"/>
          <p:nvPr/>
        </p:nvSpPr>
        <p:spPr>
          <a:xfrm>
            <a:off x="3541583" y="64475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FD3D7DC-88D5-6C46-1765-93EF386FADF9}"/>
              </a:ext>
            </a:extLst>
          </p:cNvPr>
          <p:cNvSpPr txBox="1"/>
          <p:nvPr/>
        </p:nvSpPr>
        <p:spPr>
          <a:xfrm>
            <a:off x="5404882" y="6447562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Mogelijke verbindingen met subcategorieë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F18E233-8E21-A696-DF4E-A4C8D4D50AA6}"/>
              </a:ext>
            </a:extLst>
          </p:cNvPr>
          <p:cNvSpPr txBox="1"/>
          <p:nvPr/>
        </p:nvSpPr>
        <p:spPr>
          <a:xfrm>
            <a:off x="3541583" y="250359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FFEE017-3A25-99B6-3906-5104CB3B85F2}"/>
              </a:ext>
            </a:extLst>
          </p:cNvPr>
          <p:cNvSpPr txBox="1"/>
          <p:nvPr/>
        </p:nvSpPr>
        <p:spPr>
          <a:xfrm>
            <a:off x="5404882" y="250360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  verander-</a:t>
            </a:r>
            <a:r>
              <a:rPr lang="nl-NL" sz="600" i="1" dirty="0" err="1">
                <a:solidFill>
                  <a:schemeClr val="bg1">
                    <a:lumMod val="50000"/>
                  </a:schemeClr>
                </a:solidFill>
              </a:rPr>
              <a:t>pyramide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05824DA-D131-72EB-74DB-6208D62691B1}"/>
              </a:ext>
            </a:extLst>
          </p:cNvPr>
          <p:cNvSpPr txBox="1"/>
          <p:nvPr/>
        </p:nvSpPr>
        <p:spPr>
          <a:xfrm rot="16200000">
            <a:off x="9152386" y="24777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volgende activitei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DA051B6-D344-4CF0-2440-F5A8D22B52F2}"/>
              </a:ext>
            </a:extLst>
          </p:cNvPr>
          <p:cNvSpPr txBox="1"/>
          <p:nvPr/>
        </p:nvSpPr>
        <p:spPr>
          <a:xfrm rot="16200000">
            <a:off x="9002963" y="4197792"/>
            <a:ext cx="959541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Reflectie outpu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4BAAF2E-B03E-2B87-9C22-6785BD72422F}"/>
              </a:ext>
            </a:extLst>
          </p:cNvPr>
          <p:cNvGrpSpPr/>
          <p:nvPr/>
        </p:nvGrpSpPr>
        <p:grpSpPr>
          <a:xfrm rot="10800000">
            <a:off x="170800" y="2074432"/>
            <a:ext cx="287923" cy="2633403"/>
            <a:chOff x="-28520" y="1297827"/>
            <a:chExt cx="287923" cy="263340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E47FF08-9ECE-573C-DDEB-B6A37B7677DC}"/>
                </a:ext>
              </a:extLst>
            </p:cNvPr>
            <p:cNvSpPr txBox="1"/>
            <p:nvPr/>
          </p:nvSpPr>
          <p:spPr>
            <a:xfrm rot="16200000">
              <a:off x="-312701" y="1685265"/>
              <a:ext cx="95954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Verbinding met                 vorige activitei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3DA32C3-D54C-8CE5-5AC3-25FEC444BB35}"/>
                </a:ext>
              </a:extLst>
            </p:cNvPr>
            <p:cNvSpPr txBox="1"/>
            <p:nvPr/>
          </p:nvSpPr>
          <p:spPr>
            <a:xfrm rot="16200000">
              <a:off x="-462124" y="3405293"/>
              <a:ext cx="95954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Reflectie input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0047776-E5A6-A997-2DD4-B8F2D228F19F}"/>
              </a:ext>
            </a:extLst>
          </p:cNvPr>
          <p:cNvSpPr/>
          <p:nvPr/>
        </p:nvSpPr>
        <p:spPr>
          <a:xfrm>
            <a:off x="616352" y="2032846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69FA5E-12B4-ABEF-3507-022559A23ABC}"/>
              </a:ext>
            </a:extLst>
          </p:cNvPr>
          <p:cNvSpPr/>
          <p:nvPr/>
        </p:nvSpPr>
        <p:spPr>
          <a:xfrm>
            <a:off x="616352" y="3433998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690BC12-5A2B-23D9-BCBF-9B0F275895DC}"/>
              </a:ext>
            </a:extLst>
          </p:cNvPr>
          <p:cNvSpPr/>
          <p:nvPr/>
        </p:nvSpPr>
        <p:spPr>
          <a:xfrm>
            <a:off x="616352" y="483817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9D055A6-87E9-FFE1-37E7-94B24A0F1EFF}"/>
              </a:ext>
            </a:extLst>
          </p:cNvPr>
          <p:cNvSpPr/>
          <p:nvPr/>
        </p:nvSpPr>
        <p:spPr>
          <a:xfrm>
            <a:off x="616325" y="62715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77D8EAA-4257-FB60-5A5E-DC761E87DB54}"/>
              </a:ext>
            </a:extLst>
          </p:cNvPr>
          <p:cNvSpPr/>
          <p:nvPr/>
        </p:nvSpPr>
        <p:spPr>
          <a:xfrm>
            <a:off x="616379" y="631692"/>
            <a:ext cx="8648333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23F86DF-D3DC-60B2-2B85-5272A7DC537E}"/>
              </a:ext>
            </a:extLst>
          </p:cNvPr>
          <p:cNvSpPr/>
          <p:nvPr/>
        </p:nvSpPr>
        <p:spPr>
          <a:xfrm>
            <a:off x="616366" y="3437017"/>
            <a:ext cx="8648333" cy="28083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30D5BE1-80D5-D41C-71E2-8036A8487B60}"/>
              </a:ext>
            </a:extLst>
          </p:cNvPr>
          <p:cNvSpPr/>
          <p:nvPr/>
        </p:nvSpPr>
        <p:spPr>
          <a:xfrm>
            <a:off x="616268" y="625642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20FDC82-71F0-B595-3EAC-A7BFDADF989F}"/>
              </a:ext>
            </a:extLst>
          </p:cNvPr>
          <p:cNvSpPr/>
          <p:nvPr/>
        </p:nvSpPr>
        <p:spPr>
          <a:xfrm>
            <a:off x="5668775" y="634715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DC190C-4647-7EFA-098F-736F4CE8A9BB}"/>
              </a:ext>
            </a:extLst>
          </p:cNvPr>
          <p:cNvSpPr txBox="1"/>
          <p:nvPr/>
        </p:nvSpPr>
        <p:spPr>
          <a:xfrm>
            <a:off x="4304831" y="867450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Verander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A6DD1C-411D-8B17-DDBF-AC5344FC89E1}"/>
              </a:ext>
            </a:extLst>
          </p:cNvPr>
          <p:cNvSpPr txBox="1"/>
          <p:nvPr/>
        </p:nvSpPr>
        <p:spPr>
          <a:xfrm>
            <a:off x="4310525" y="2272382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Activitei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A1A79CE-AF2E-E8E9-1229-B66F7B74A8F5}"/>
              </a:ext>
            </a:extLst>
          </p:cNvPr>
          <p:cNvSpPr txBox="1"/>
          <p:nvPr/>
        </p:nvSpPr>
        <p:spPr>
          <a:xfrm>
            <a:off x="4319600" y="366975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Uitkoms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CF35E39-7513-26FC-C7A9-4ACFC64E6094}"/>
              </a:ext>
            </a:extLst>
          </p:cNvPr>
          <p:cNvSpPr txBox="1"/>
          <p:nvPr/>
        </p:nvSpPr>
        <p:spPr>
          <a:xfrm>
            <a:off x="4299194" y="508753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Reflecti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5458C21-F282-13C4-BEBA-5EAB17B569D4}"/>
              </a:ext>
            </a:extLst>
          </p:cNvPr>
          <p:cNvSpPr txBox="1"/>
          <p:nvPr/>
        </p:nvSpPr>
        <p:spPr>
          <a:xfrm>
            <a:off x="716858" y="791083"/>
            <a:ext cx="1831495" cy="5899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Formuleer</a:t>
            </a:r>
            <a:r>
              <a:rPr lang="en-GB" sz="600" dirty="0"/>
              <a:t> de </a:t>
            </a:r>
            <a:r>
              <a:rPr lang="en-GB" sz="600" dirty="0" err="1"/>
              <a:t>gewenste</a:t>
            </a:r>
            <a:r>
              <a:rPr lang="en-GB" sz="600" dirty="0"/>
              <a:t> </a:t>
            </a:r>
            <a:r>
              <a:rPr lang="en-GB" sz="600" dirty="0" err="1"/>
              <a:t>veranderdoel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Koppel het </a:t>
            </a:r>
            <a:r>
              <a:rPr lang="en-GB" sz="600" dirty="0" err="1"/>
              <a:t>aan</a:t>
            </a:r>
            <a:r>
              <a:rPr lang="en-GB" sz="600" dirty="0"/>
              <a:t>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veranderdoelstelling</a:t>
            </a:r>
            <a:r>
              <a:rPr lang="en-GB" sz="600" dirty="0"/>
              <a:t> op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hoger</a:t>
            </a:r>
            <a:r>
              <a:rPr lang="en-GB" sz="600" dirty="0"/>
              <a:t> </a:t>
            </a:r>
            <a:r>
              <a:rPr lang="en-GB" sz="600" dirty="0" err="1"/>
              <a:t>niveau</a:t>
            </a:r>
            <a:endParaRPr lang="en-GB" sz="600" dirty="0"/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Identificeer</a:t>
            </a:r>
            <a:r>
              <a:rPr lang="en-GB" sz="600" dirty="0"/>
              <a:t> </a:t>
            </a:r>
            <a:r>
              <a:rPr lang="en-GB" sz="600" dirty="0" err="1"/>
              <a:t>aannames</a:t>
            </a:r>
            <a:r>
              <a:rPr lang="en-GB" sz="600" dirty="0"/>
              <a:t> </a:t>
            </a:r>
            <a:r>
              <a:rPr lang="en-GB" sz="600" dirty="0" err="1"/>
              <a:t>en</a:t>
            </a:r>
            <a:r>
              <a:rPr lang="en-GB" sz="600" dirty="0"/>
              <a:t> </a:t>
            </a:r>
            <a:r>
              <a:rPr lang="en-GB" sz="600" dirty="0" err="1"/>
              <a:t>definieer</a:t>
            </a:r>
            <a:r>
              <a:rPr lang="en-GB" sz="600" dirty="0"/>
              <a:t> de </a:t>
            </a:r>
            <a:r>
              <a:rPr lang="en-GB" sz="600" dirty="0" err="1"/>
              <a:t>belangrijkste</a:t>
            </a:r>
            <a:r>
              <a:rPr lang="en-GB" sz="600" dirty="0"/>
              <a:t> </a:t>
            </a:r>
            <a:r>
              <a:rPr lang="en-GB" sz="600" dirty="0" err="1"/>
              <a:t>resultaten</a:t>
            </a:r>
            <a:endParaRPr lang="en-GB" sz="600" dirty="0"/>
          </a:p>
        </p:txBody>
      </p:sp>
      <p:pic>
        <p:nvPicPr>
          <p:cNvPr id="58" name="postit.png" descr="postit.png">
            <a:extLst>
              <a:ext uri="{FF2B5EF4-FFF2-40B4-BE49-F238E27FC236}">
                <a16:creationId xmlns:a16="http://schemas.microsoft.com/office/drawing/2014/main" id="{04C24895-FA96-2AF0-7753-D9C468437C9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526948" y="589990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postit.png" descr="postit.png">
            <a:extLst>
              <a:ext uri="{FF2B5EF4-FFF2-40B4-BE49-F238E27FC236}">
                <a16:creationId xmlns:a16="http://schemas.microsoft.com/office/drawing/2014/main" id="{DF475AF0-F235-01E3-BB88-6210DE46709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3375242" y="1095591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44" name="directions.png" descr="directions.png">
            <a:extLst>
              <a:ext uri="{FF2B5EF4-FFF2-40B4-BE49-F238E27FC236}">
                <a16:creationId xmlns:a16="http://schemas.microsoft.com/office/drawing/2014/main" id="{8EE862EC-5657-68B4-1D1F-2766827551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7584" y="119472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0" name="iot.png" descr="iot.png">
            <a:extLst>
              <a:ext uri="{FF2B5EF4-FFF2-40B4-BE49-F238E27FC236}">
                <a16:creationId xmlns:a16="http://schemas.microsoft.com/office/drawing/2014/main" id="{B0782936-CD1A-921D-52DB-60BAFDD9FD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3598" y="540271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map.png" descr="map.png">
            <a:extLst>
              <a:ext uri="{FF2B5EF4-FFF2-40B4-BE49-F238E27FC236}">
                <a16:creationId xmlns:a16="http://schemas.microsoft.com/office/drawing/2014/main" id="{3B6B8EF5-731D-270C-F97C-AB22811B64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4717" y="394929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pencilcross.png" descr="pencilcross.png">
            <a:extLst>
              <a:ext uri="{FF2B5EF4-FFF2-40B4-BE49-F238E27FC236}">
                <a16:creationId xmlns:a16="http://schemas.microsoft.com/office/drawing/2014/main" id="{74CB8434-DC87-BD3A-7D56-B390495DD6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8805" y="2600414"/>
            <a:ext cx="688389" cy="688389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BF5B773C-7688-8BFE-91C6-EC86331DCD18}"/>
              </a:ext>
            </a:extLst>
          </p:cNvPr>
          <p:cNvSpPr txBox="1"/>
          <p:nvPr/>
        </p:nvSpPr>
        <p:spPr>
          <a:xfrm>
            <a:off x="716858" y="2173810"/>
            <a:ext cx="1831495" cy="405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paal</a:t>
            </a:r>
            <a:r>
              <a:rPr lang="en-GB" sz="600" dirty="0"/>
              <a:t> wat er </a:t>
            </a:r>
            <a:r>
              <a:rPr lang="en-GB" sz="600" dirty="0" err="1"/>
              <a:t>nodig</a:t>
            </a:r>
            <a:r>
              <a:rPr lang="en-GB" sz="600" dirty="0"/>
              <a:t> is </a:t>
            </a:r>
            <a:r>
              <a:rPr lang="en-GB" sz="600" dirty="0" err="1"/>
              <a:t>voor</a:t>
            </a:r>
            <a:r>
              <a:rPr lang="en-GB" sz="600" dirty="0"/>
              <a:t> de </a:t>
            </a:r>
            <a:r>
              <a:rPr lang="en-GB" sz="600" dirty="0" err="1"/>
              <a:t>activiteit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Kies partners om </a:t>
            </a:r>
            <a:r>
              <a:rPr lang="en-GB" sz="600" dirty="0" err="1"/>
              <a:t>te</a:t>
            </a:r>
            <a:r>
              <a:rPr lang="en-GB" sz="600" dirty="0"/>
              <a:t> </a:t>
            </a:r>
            <a:r>
              <a:rPr lang="en-GB" sz="600" dirty="0" err="1"/>
              <a:t>betrekken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Maak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realistische</a:t>
            </a:r>
            <a:r>
              <a:rPr lang="en-GB" sz="600" dirty="0"/>
              <a:t> planning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D1BF8B7-1EF1-2D6A-F251-96FBC4B0692E}"/>
              </a:ext>
            </a:extLst>
          </p:cNvPr>
          <p:cNvSpPr txBox="1"/>
          <p:nvPr/>
        </p:nvSpPr>
        <p:spPr>
          <a:xfrm>
            <a:off x="716858" y="3585522"/>
            <a:ext cx="1831495" cy="405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slis</a:t>
            </a:r>
            <a:r>
              <a:rPr lang="en-GB" sz="600" dirty="0"/>
              <a:t> hoe je </a:t>
            </a:r>
            <a:r>
              <a:rPr lang="en-GB" sz="600" dirty="0" err="1"/>
              <a:t>uitkomstgegevens</a:t>
            </a:r>
            <a:r>
              <a:rPr lang="en-GB" sz="600" dirty="0"/>
              <a:t> </a:t>
            </a:r>
            <a:r>
              <a:rPr lang="en-GB" sz="600" dirty="0" err="1"/>
              <a:t>verzamelt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reid</a:t>
            </a:r>
            <a:r>
              <a:rPr lang="en-GB" sz="600" dirty="0"/>
              <a:t> het </a:t>
            </a:r>
            <a:r>
              <a:rPr lang="en-GB" sz="600" dirty="0" err="1"/>
              <a:t>verzamelen</a:t>
            </a:r>
            <a:r>
              <a:rPr lang="en-GB" sz="600" dirty="0"/>
              <a:t> van </a:t>
            </a:r>
            <a:r>
              <a:rPr lang="en-GB" sz="600" dirty="0" err="1"/>
              <a:t>gegevens</a:t>
            </a:r>
            <a:r>
              <a:rPr lang="en-GB" sz="600" dirty="0"/>
              <a:t> </a:t>
            </a:r>
            <a:r>
              <a:rPr lang="en-GB" sz="600" dirty="0" err="1"/>
              <a:t>voor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spreek</a:t>
            </a:r>
            <a:r>
              <a:rPr lang="en-GB" sz="600" dirty="0"/>
              <a:t> </a:t>
            </a:r>
            <a:r>
              <a:rPr lang="en-GB" sz="600" dirty="0" err="1"/>
              <a:t>mogelijke</a:t>
            </a:r>
            <a:r>
              <a:rPr lang="en-GB" sz="600" dirty="0"/>
              <a:t> </a:t>
            </a:r>
            <a:r>
              <a:rPr lang="en-GB" sz="600" dirty="0" err="1"/>
              <a:t>uitkomsten</a:t>
            </a:r>
            <a:r>
              <a:rPr lang="en-GB" sz="600" dirty="0"/>
              <a:t> van </a:t>
            </a:r>
            <a:r>
              <a:rPr lang="en-GB" sz="600" dirty="0" err="1"/>
              <a:t>tevoren</a:t>
            </a:r>
            <a:r>
              <a:rPr lang="en-GB" sz="600" dirty="0"/>
              <a:t>.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62C0674-E72D-D469-5BED-032AEA1C0AB5}"/>
              </a:ext>
            </a:extLst>
          </p:cNvPr>
          <p:cNvSpPr txBox="1"/>
          <p:nvPr/>
        </p:nvSpPr>
        <p:spPr>
          <a:xfrm>
            <a:off x="716858" y="4968249"/>
            <a:ext cx="1831495" cy="4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slis</a:t>
            </a:r>
            <a:r>
              <a:rPr lang="en-GB" sz="600" dirty="0"/>
              <a:t> </a:t>
            </a:r>
            <a:r>
              <a:rPr lang="en-GB" sz="600" dirty="0" err="1"/>
              <a:t>wie</a:t>
            </a:r>
            <a:r>
              <a:rPr lang="en-GB" sz="600" dirty="0"/>
              <a:t> </a:t>
            </a:r>
            <a:r>
              <a:rPr lang="en-GB" sz="600" dirty="0" err="1"/>
              <a:t>en</a:t>
            </a:r>
            <a:r>
              <a:rPr lang="en-GB" sz="600" dirty="0"/>
              <a:t> </a:t>
            </a:r>
            <a:r>
              <a:rPr lang="en-GB" sz="600" dirty="0" err="1"/>
              <a:t>wanneer</a:t>
            </a:r>
            <a:r>
              <a:rPr lang="en-GB" sz="600" dirty="0"/>
              <a:t> </a:t>
            </a:r>
            <a:r>
              <a:rPr lang="en-GB" sz="600" dirty="0" err="1"/>
              <a:t>te</a:t>
            </a:r>
            <a:r>
              <a:rPr lang="en-GB" sz="600" dirty="0"/>
              <a:t> </a:t>
            </a:r>
            <a:r>
              <a:rPr lang="en-GB" sz="600" dirty="0" err="1"/>
              <a:t>raadplegen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Kies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methode</a:t>
            </a:r>
            <a:r>
              <a:rPr lang="en-GB" sz="600" dirty="0"/>
              <a:t> </a:t>
            </a:r>
            <a:r>
              <a:rPr lang="en-GB" sz="600" dirty="0" err="1"/>
              <a:t>voor</a:t>
            </a:r>
            <a:r>
              <a:rPr lang="en-GB" sz="600" dirty="0"/>
              <a:t> </a:t>
            </a:r>
            <a:r>
              <a:rPr lang="en-GB" sz="600" dirty="0" err="1"/>
              <a:t>reflectie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reid</a:t>
            </a:r>
            <a:r>
              <a:rPr lang="en-GB" sz="600" dirty="0"/>
              <a:t> het </a:t>
            </a:r>
            <a:r>
              <a:rPr lang="en-GB" sz="600" dirty="0" err="1"/>
              <a:t>documenteren</a:t>
            </a:r>
            <a:r>
              <a:rPr lang="en-GB" sz="600" dirty="0"/>
              <a:t> van de </a:t>
            </a:r>
            <a:r>
              <a:rPr lang="en-GB" sz="600" dirty="0" err="1"/>
              <a:t>reflectieresultaten</a:t>
            </a:r>
            <a:r>
              <a:rPr lang="en-GB" sz="600" dirty="0"/>
              <a:t> </a:t>
            </a:r>
            <a:r>
              <a:rPr lang="en-GB" sz="600" dirty="0" err="1"/>
              <a:t>voor</a:t>
            </a:r>
            <a:r>
              <a:rPr lang="en-GB" sz="600" dirty="0"/>
              <a:t>.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E4A3563-D9B1-7FA0-079D-9984F362EEDB}"/>
              </a:ext>
            </a:extLst>
          </p:cNvPr>
          <p:cNvSpPr txBox="1"/>
          <p:nvPr/>
        </p:nvSpPr>
        <p:spPr>
          <a:xfrm>
            <a:off x="5776177" y="777982"/>
            <a:ext cx="1831495" cy="4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Was het </a:t>
            </a:r>
            <a:r>
              <a:rPr lang="en-GB" sz="600" dirty="0" err="1"/>
              <a:t>veranderdoel</a:t>
            </a:r>
            <a:r>
              <a:rPr lang="en-GB" sz="600" dirty="0"/>
              <a:t> </a:t>
            </a:r>
            <a:r>
              <a:rPr lang="en-GB" sz="600" dirty="0" err="1"/>
              <a:t>goed</a:t>
            </a:r>
            <a:r>
              <a:rPr lang="en-GB" sz="600" dirty="0"/>
              <a:t> </a:t>
            </a:r>
            <a:r>
              <a:rPr lang="en-GB" sz="600" dirty="0" err="1"/>
              <a:t>geformuleerd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Zijn</a:t>
            </a:r>
            <a:r>
              <a:rPr lang="en-GB" sz="600" dirty="0"/>
              <a:t> je </a:t>
            </a:r>
            <a:r>
              <a:rPr lang="en-GB" sz="600" dirty="0" err="1"/>
              <a:t>veronderstellingen</a:t>
            </a:r>
            <a:r>
              <a:rPr lang="en-GB" sz="600" dirty="0"/>
              <a:t> </a:t>
            </a:r>
            <a:r>
              <a:rPr lang="en-GB" sz="600" dirty="0" err="1"/>
              <a:t>uitgekomen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Heeft</a:t>
            </a:r>
            <a:r>
              <a:rPr lang="en-GB" sz="600" dirty="0"/>
              <a:t> de </a:t>
            </a:r>
            <a:r>
              <a:rPr lang="en-GB" sz="600" dirty="0" err="1"/>
              <a:t>uitkomst</a:t>
            </a:r>
            <a:r>
              <a:rPr lang="en-GB" sz="600" dirty="0"/>
              <a:t> de </a:t>
            </a:r>
            <a:r>
              <a:rPr lang="en-GB" sz="600" dirty="0" err="1"/>
              <a:t>belangrijkste</a:t>
            </a:r>
            <a:r>
              <a:rPr lang="en-GB" sz="600" dirty="0"/>
              <a:t> </a:t>
            </a:r>
            <a:r>
              <a:rPr lang="en-GB" sz="600" dirty="0" err="1"/>
              <a:t>resultaten</a:t>
            </a:r>
            <a:r>
              <a:rPr lang="en-GB" sz="600" dirty="0"/>
              <a:t> </a:t>
            </a:r>
            <a:r>
              <a:rPr lang="en-GB" sz="600" dirty="0" err="1"/>
              <a:t>opgeleverd</a:t>
            </a:r>
            <a:r>
              <a:rPr lang="en-GB" sz="600" dirty="0"/>
              <a:t>?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2C9F857-C6ED-0D19-E5C2-E0A29100AEF9}"/>
              </a:ext>
            </a:extLst>
          </p:cNvPr>
          <p:cNvSpPr txBox="1"/>
          <p:nvPr/>
        </p:nvSpPr>
        <p:spPr>
          <a:xfrm>
            <a:off x="5776177" y="2160709"/>
            <a:ext cx="1831495" cy="4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Werden er </a:t>
            </a:r>
            <a:r>
              <a:rPr lang="en-GB" sz="600" dirty="0" err="1"/>
              <a:t>wijzigingen</a:t>
            </a:r>
            <a:r>
              <a:rPr lang="en-GB" sz="600" dirty="0"/>
              <a:t> </a:t>
            </a:r>
            <a:r>
              <a:rPr lang="en-GB" sz="600" dirty="0" err="1"/>
              <a:t>aangebracht</a:t>
            </a:r>
            <a:r>
              <a:rPr lang="en-GB" sz="600" dirty="0"/>
              <a:t> in de </a:t>
            </a:r>
            <a:r>
              <a:rPr lang="en-GB" sz="600" dirty="0" err="1"/>
              <a:t>activiteit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Heeft</a:t>
            </a:r>
            <a:r>
              <a:rPr lang="en-GB" sz="600" dirty="0"/>
              <a:t> </a:t>
            </a:r>
            <a:r>
              <a:rPr lang="en-GB" sz="600" dirty="0" err="1"/>
              <a:t>iedereen</a:t>
            </a:r>
            <a:r>
              <a:rPr lang="en-GB" sz="600" dirty="0"/>
              <a:t> / Wie </a:t>
            </a:r>
            <a:r>
              <a:rPr lang="en-GB" sz="600" dirty="0" err="1"/>
              <a:t>heeft</a:t>
            </a:r>
            <a:r>
              <a:rPr lang="en-GB" sz="600" dirty="0"/>
              <a:t> </a:t>
            </a:r>
            <a:r>
              <a:rPr lang="en-GB" sz="600" dirty="0" err="1"/>
              <a:t>meegedaan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Werd</a:t>
            </a:r>
            <a:r>
              <a:rPr lang="en-GB" sz="600" dirty="0"/>
              <a:t>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alternatief</a:t>
            </a:r>
            <a:r>
              <a:rPr lang="en-GB" sz="600" dirty="0"/>
              <a:t> </a:t>
            </a:r>
            <a:r>
              <a:rPr lang="en-GB" sz="600" dirty="0" err="1"/>
              <a:t>duidelijk</a:t>
            </a:r>
            <a:r>
              <a:rPr lang="en-GB" sz="600" dirty="0"/>
              <a:t>?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6E5D10DD-14EC-12C5-728D-F89096AA585C}"/>
              </a:ext>
            </a:extLst>
          </p:cNvPr>
          <p:cNvSpPr txBox="1"/>
          <p:nvPr/>
        </p:nvSpPr>
        <p:spPr>
          <a:xfrm>
            <a:off x="5776177" y="3572421"/>
            <a:ext cx="1831495" cy="4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Is de </a:t>
            </a:r>
            <a:r>
              <a:rPr lang="en-GB" sz="600" dirty="0" err="1"/>
              <a:t>uitkomst</a:t>
            </a:r>
            <a:r>
              <a:rPr lang="en-GB" sz="600" dirty="0"/>
              <a:t> in </a:t>
            </a:r>
            <a:r>
              <a:rPr lang="en-GB" sz="600" dirty="0" err="1"/>
              <a:t>lijn</a:t>
            </a:r>
            <a:r>
              <a:rPr lang="en-GB" sz="600" dirty="0"/>
              <a:t> met de </a:t>
            </a:r>
            <a:r>
              <a:rPr lang="en-GB" sz="600" dirty="0" err="1"/>
              <a:t>verwachtingen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Kan de </a:t>
            </a:r>
            <a:r>
              <a:rPr lang="en-GB" sz="600" dirty="0" err="1"/>
              <a:t>uitkomst</a:t>
            </a:r>
            <a:r>
              <a:rPr lang="en-GB" sz="600" dirty="0"/>
              <a:t> direct </a:t>
            </a:r>
            <a:r>
              <a:rPr lang="en-GB" sz="600" dirty="0" err="1"/>
              <a:t>worden</a:t>
            </a:r>
            <a:r>
              <a:rPr lang="en-GB" sz="600" dirty="0"/>
              <a:t> </a:t>
            </a:r>
            <a:r>
              <a:rPr lang="en-GB" sz="600" dirty="0" err="1"/>
              <a:t>gebruikt</a:t>
            </a:r>
            <a:r>
              <a:rPr lang="en-GB" sz="600" dirty="0"/>
              <a:t> </a:t>
            </a:r>
            <a:r>
              <a:rPr lang="en-GB" sz="600" dirty="0" err="1"/>
              <a:t>voor</a:t>
            </a:r>
            <a:r>
              <a:rPr lang="en-GB" sz="600" dirty="0"/>
              <a:t> de </a:t>
            </a:r>
            <a:r>
              <a:rPr lang="en-GB" sz="600" dirty="0" err="1"/>
              <a:t>volgende</a:t>
            </a:r>
            <a:r>
              <a:rPr lang="en-GB" sz="600" dirty="0"/>
              <a:t> </a:t>
            </a:r>
            <a:r>
              <a:rPr lang="en-GB" sz="600" dirty="0" err="1"/>
              <a:t>fase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Levert de </a:t>
            </a:r>
            <a:r>
              <a:rPr lang="en-GB" sz="600" dirty="0" err="1"/>
              <a:t>uitkomst</a:t>
            </a:r>
            <a:r>
              <a:rPr lang="en-GB" sz="600" dirty="0"/>
              <a:t> het </a:t>
            </a:r>
            <a:r>
              <a:rPr lang="en-GB" sz="600" dirty="0" err="1"/>
              <a:t>veranderdoel</a:t>
            </a:r>
            <a:r>
              <a:rPr lang="en-GB" sz="600" dirty="0"/>
              <a:t> op?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2555442-DD0E-A047-C622-D2EFE9EAD0B1}"/>
              </a:ext>
            </a:extLst>
          </p:cNvPr>
          <p:cNvSpPr txBox="1"/>
          <p:nvPr/>
        </p:nvSpPr>
        <p:spPr>
          <a:xfrm>
            <a:off x="5776177" y="4955148"/>
            <a:ext cx="1831495" cy="405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Is er op </a:t>
            </a:r>
            <a:r>
              <a:rPr lang="en-GB" sz="600" dirty="0" err="1"/>
              <a:t>elke</a:t>
            </a:r>
            <a:r>
              <a:rPr lang="en-GB" sz="600" dirty="0"/>
              <a:t> </a:t>
            </a:r>
            <a:r>
              <a:rPr lang="en-GB" sz="600" dirty="0" err="1"/>
              <a:t>fase</a:t>
            </a:r>
            <a:r>
              <a:rPr lang="en-GB" sz="600" dirty="0"/>
              <a:t> van het </a:t>
            </a:r>
            <a:r>
              <a:rPr lang="en-GB" sz="600" dirty="0" err="1"/>
              <a:t>traject</a:t>
            </a:r>
            <a:r>
              <a:rPr lang="en-GB" sz="600" dirty="0"/>
              <a:t> </a:t>
            </a:r>
            <a:r>
              <a:rPr lang="en-GB" sz="600" dirty="0" err="1"/>
              <a:t>gereflecteerd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Zijn</a:t>
            </a:r>
            <a:r>
              <a:rPr lang="en-GB" sz="600" dirty="0"/>
              <a:t> de de </a:t>
            </a:r>
            <a:r>
              <a:rPr lang="en-GB" sz="600" dirty="0" err="1"/>
              <a:t>reflectieresultaten</a:t>
            </a:r>
            <a:r>
              <a:rPr lang="en-GB" sz="600" dirty="0"/>
              <a:t> </a:t>
            </a:r>
            <a:r>
              <a:rPr lang="en-GB" sz="600" dirty="0" err="1"/>
              <a:t>samengevat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Zijn</a:t>
            </a:r>
            <a:r>
              <a:rPr lang="en-GB" sz="600" dirty="0"/>
              <a:t> de </a:t>
            </a:r>
            <a:r>
              <a:rPr lang="en-GB" sz="600" dirty="0" err="1"/>
              <a:t>resultaten</a:t>
            </a:r>
            <a:r>
              <a:rPr lang="en-GB" sz="600" dirty="0"/>
              <a:t> </a:t>
            </a:r>
            <a:r>
              <a:rPr lang="en-GB" sz="600" dirty="0" err="1"/>
              <a:t>gedeeld</a:t>
            </a:r>
            <a:r>
              <a:rPr lang="en-GB" sz="600" dirty="0"/>
              <a:t>?</a:t>
            </a:r>
          </a:p>
        </p:txBody>
      </p:sp>
      <p:pic>
        <p:nvPicPr>
          <p:cNvPr id="9" name="postit.png" descr="postit.png">
            <a:extLst>
              <a:ext uri="{FF2B5EF4-FFF2-40B4-BE49-F238E27FC236}">
                <a16:creationId xmlns:a16="http://schemas.microsoft.com/office/drawing/2014/main" id="{57044CE5-2043-6CEB-51BA-EBCF3953016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627468" y="2331402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postit.png" descr="postit.png">
            <a:extLst>
              <a:ext uri="{FF2B5EF4-FFF2-40B4-BE49-F238E27FC236}">
                <a16:creationId xmlns:a16="http://schemas.microsoft.com/office/drawing/2014/main" id="{BEFCF5DD-DD3C-9B46-502B-626ED0D1DC6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1309388" y="3908699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20" name="postit.png" descr="postit.png">
            <a:extLst>
              <a:ext uri="{FF2B5EF4-FFF2-40B4-BE49-F238E27FC236}">
                <a16:creationId xmlns:a16="http://schemas.microsoft.com/office/drawing/2014/main" id="{0B9C885C-A051-C74A-B031-858244D7273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1885935" y="5317657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21" name="postit.png" descr="postit.png">
            <a:extLst>
              <a:ext uri="{FF2B5EF4-FFF2-40B4-BE49-F238E27FC236}">
                <a16:creationId xmlns:a16="http://schemas.microsoft.com/office/drawing/2014/main" id="{5BC9DCE4-F3E8-2E93-7D61-664F2A8CD68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959266" y="3466383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3" name="postit.png" descr="postit.png">
            <a:extLst>
              <a:ext uri="{FF2B5EF4-FFF2-40B4-BE49-F238E27FC236}">
                <a16:creationId xmlns:a16="http://schemas.microsoft.com/office/drawing/2014/main" id="{4D1CADA2-FE71-6692-0FF4-ECBEA16FFFB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7689455" y="888571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4" name="postit.png" descr="postit.png">
            <a:extLst>
              <a:ext uri="{FF2B5EF4-FFF2-40B4-BE49-F238E27FC236}">
                <a16:creationId xmlns:a16="http://schemas.microsoft.com/office/drawing/2014/main" id="{0C680D4E-19A2-A8EF-8AB5-BB2EBB2650C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7908135" y="2247569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5" name="postit.png" descr="postit.png">
            <a:extLst>
              <a:ext uri="{FF2B5EF4-FFF2-40B4-BE49-F238E27FC236}">
                <a16:creationId xmlns:a16="http://schemas.microsoft.com/office/drawing/2014/main" id="{260123BA-46EC-28CB-886D-9AD068632D6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5760891" y="1226513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6" name="postit.png" descr="postit.png">
            <a:extLst>
              <a:ext uri="{FF2B5EF4-FFF2-40B4-BE49-F238E27FC236}">
                <a16:creationId xmlns:a16="http://schemas.microsoft.com/office/drawing/2014/main" id="{6FA1DDD5-72CB-A334-750D-15857FB659E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6411602" y="2584027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7" name="postit.png" descr="postit.png">
            <a:extLst>
              <a:ext uri="{FF2B5EF4-FFF2-40B4-BE49-F238E27FC236}">
                <a16:creationId xmlns:a16="http://schemas.microsoft.com/office/drawing/2014/main" id="{2039464C-147E-7306-CBC8-93BF82E4703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7563625" y="3585892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8" name="postit.png" descr="postit.png">
            <a:extLst>
              <a:ext uri="{FF2B5EF4-FFF2-40B4-BE49-F238E27FC236}">
                <a16:creationId xmlns:a16="http://schemas.microsoft.com/office/drawing/2014/main" id="{E3F787C4-AAE8-017E-514F-CACDC890E1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7832939" y="5180870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9" name="postit.png" descr="postit.png">
            <a:extLst>
              <a:ext uri="{FF2B5EF4-FFF2-40B4-BE49-F238E27FC236}">
                <a16:creationId xmlns:a16="http://schemas.microsoft.com/office/drawing/2014/main" id="{F131AC6E-8D80-A261-4AC9-00071935F72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6411505" y="5300555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70" name="postit.png" descr="postit.png">
            <a:extLst>
              <a:ext uri="{FF2B5EF4-FFF2-40B4-BE49-F238E27FC236}">
                <a16:creationId xmlns:a16="http://schemas.microsoft.com/office/drawing/2014/main" id="{CEADB110-CCA8-F9D7-BB58-CF59F54333B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6327327" y="3973678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71" name="postit.png" descr="postit.png">
            <a:extLst>
              <a:ext uri="{FF2B5EF4-FFF2-40B4-BE49-F238E27FC236}">
                <a16:creationId xmlns:a16="http://schemas.microsoft.com/office/drawing/2014/main" id="{95AC965A-6CCF-3A24-BF19-FC5F4D4F3C4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1447958" y="2457205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72" name="postit.png" descr="postit.png">
            <a:extLst>
              <a:ext uri="{FF2B5EF4-FFF2-40B4-BE49-F238E27FC236}">
                <a16:creationId xmlns:a16="http://schemas.microsoft.com/office/drawing/2014/main" id="{7E694F6F-04D9-5AC4-C1B8-1BC67D79E0F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3062515" y="5051242"/>
            <a:ext cx="921668" cy="92166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2398250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C89D952-DCC1-D150-C908-BBD9AAE3A4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C4690B7-7E8D-C670-0A35-1BEE0539AC38}"/>
              </a:ext>
            </a:extLst>
          </p:cNvPr>
          <p:cNvGrpSpPr/>
          <p:nvPr/>
        </p:nvGrpSpPr>
        <p:grpSpPr>
          <a:xfrm>
            <a:off x="4501125" y="6413486"/>
            <a:ext cx="903757" cy="249879"/>
            <a:chOff x="4382565" y="4729735"/>
            <a:chExt cx="903757" cy="249879"/>
          </a:xfrm>
        </p:grpSpPr>
        <p:sp>
          <p:nvSpPr>
            <p:cNvPr id="4" name="Chevron 3">
              <a:extLst>
                <a:ext uri="{FF2B5EF4-FFF2-40B4-BE49-F238E27FC236}">
                  <a16:creationId xmlns:a16="http://schemas.microsoft.com/office/drawing/2014/main" id="{BFD417AB-542E-23E8-D7FB-B360EBC27B5A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0BEFC237-7B2D-6F58-2DE9-99E2A9B2BE1F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68B1CC7-8F6B-9084-84CF-B3C01EB45CEC}"/>
              </a:ext>
            </a:extLst>
          </p:cNvPr>
          <p:cNvGrpSpPr/>
          <p:nvPr/>
        </p:nvGrpSpPr>
        <p:grpSpPr>
          <a:xfrm rot="10800000">
            <a:off x="4501125" y="216158"/>
            <a:ext cx="903757" cy="249879"/>
            <a:chOff x="3930686" y="1974973"/>
            <a:chExt cx="903757" cy="249879"/>
          </a:xfrm>
        </p:grpSpPr>
        <p:sp>
          <p:nvSpPr>
            <p:cNvPr id="2" name="Chevron 1">
              <a:extLst>
                <a:ext uri="{FF2B5EF4-FFF2-40B4-BE49-F238E27FC236}">
                  <a16:creationId xmlns:a16="http://schemas.microsoft.com/office/drawing/2014/main" id="{107346FB-0E8D-6C28-7961-372890406DC4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hevron 4">
              <a:extLst>
                <a:ext uri="{FF2B5EF4-FFF2-40B4-BE49-F238E27FC236}">
                  <a16:creationId xmlns:a16="http://schemas.microsoft.com/office/drawing/2014/main" id="{7229CE52-D7F0-7188-E298-119A41BEE686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02D0863-C1C8-C0E6-BC01-990973D37869}"/>
              </a:ext>
            </a:extLst>
          </p:cNvPr>
          <p:cNvGrpSpPr/>
          <p:nvPr/>
        </p:nvGrpSpPr>
        <p:grpSpPr>
          <a:xfrm rot="16200000">
            <a:off x="9123887" y="3284505"/>
            <a:ext cx="903757" cy="249879"/>
            <a:chOff x="4382565" y="4729735"/>
            <a:chExt cx="903757" cy="249879"/>
          </a:xfrm>
          <a:solidFill>
            <a:schemeClr val="accent2">
              <a:lumMod val="75000"/>
            </a:schemeClr>
          </a:solidFill>
        </p:grpSpPr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2D1DE2AD-AD83-C7DC-B1DA-E4D93AE0F51A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hevron 14">
              <a:extLst>
                <a:ext uri="{FF2B5EF4-FFF2-40B4-BE49-F238E27FC236}">
                  <a16:creationId xmlns:a16="http://schemas.microsoft.com/office/drawing/2014/main" id="{E5313DA2-9105-33EE-CCBF-D87E86E56F34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B58F923-80FA-D358-5F3B-F8632820E61F}"/>
              </a:ext>
            </a:extLst>
          </p:cNvPr>
          <p:cNvGrpSpPr/>
          <p:nvPr/>
        </p:nvGrpSpPr>
        <p:grpSpPr>
          <a:xfrm rot="5400000">
            <a:off x="-155562" y="3299229"/>
            <a:ext cx="903757" cy="249879"/>
            <a:chOff x="3930686" y="1974973"/>
            <a:chExt cx="903757" cy="249879"/>
          </a:xfrm>
        </p:grpSpPr>
        <p:sp>
          <p:nvSpPr>
            <p:cNvPr id="17" name="Chevron 16">
              <a:extLst>
                <a:ext uri="{FF2B5EF4-FFF2-40B4-BE49-F238E27FC236}">
                  <a16:creationId xmlns:a16="http://schemas.microsoft.com/office/drawing/2014/main" id="{CEFDA3E3-A30C-C5DA-2BA6-CC94A4020E1A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Chevron 17">
              <a:extLst>
                <a:ext uri="{FF2B5EF4-FFF2-40B4-BE49-F238E27FC236}">
                  <a16:creationId xmlns:a16="http://schemas.microsoft.com/office/drawing/2014/main" id="{F840B64F-E19D-930B-F7DD-8C7862F6912B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E353AA38-B284-4B69-C137-F1881E6F0D84}"/>
              </a:ext>
            </a:extLst>
          </p:cNvPr>
          <p:cNvSpPr txBox="1"/>
          <p:nvPr/>
        </p:nvSpPr>
        <p:spPr>
          <a:xfrm>
            <a:off x="1885935" y="216155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>
                <a:solidFill>
                  <a:schemeClr val="bg1"/>
                </a:solidFill>
              </a:rPr>
              <a:t>Voorbereid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50579D8-7527-970F-F8EB-4C6886FA854C}"/>
              </a:ext>
            </a:extLst>
          </p:cNvPr>
          <p:cNvSpPr txBox="1"/>
          <p:nvPr/>
        </p:nvSpPr>
        <p:spPr>
          <a:xfrm>
            <a:off x="6622305" y="224619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>
            <a:defPPr marL="0" marR="0" indent="0" algn="l" defTabSz="107264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1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Voortga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D3BF26B-49FD-7EE8-5AD3-ED6D9B74AD13}"/>
              </a:ext>
            </a:extLst>
          </p:cNvPr>
          <p:cNvSpPr txBox="1"/>
          <p:nvPr/>
        </p:nvSpPr>
        <p:spPr>
          <a:xfrm>
            <a:off x="3541583" y="64475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C86C36F-C73D-BAD6-1A66-A8307600B36E}"/>
              </a:ext>
            </a:extLst>
          </p:cNvPr>
          <p:cNvSpPr txBox="1"/>
          <p:nvPr/>
        </p:nvSpPr>
        <p:spPr>
          <a:xfrm>
            <a:off x="5404882" y="6447562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Mogelijke verbindingen met subcategorieë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A14D03D-8BD9-FD4E-9632-DE537936B5AC}"/>
              </a:ext>
            </a:extLst>
          </p:cNvPr>
          <p:cNvSpPr txBox="1"/>
          <p:nvPr/>
        </p:nvSpPr>
        <p:spPr>
          <a:xfrm>
            <a:off x="3541583" y="250359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429690C-DB82-3B8D-9C35-93733C022AB5}"/>
              </a:ext>
            </a:extLst>
          </p:cNvPr>
          <p:cNvSpPr txBox="1"/>
          <p:nvPr/>
        </p:nvSpPr>
        <p:spPr>
          <a:xfrm>
            <a:off x="5404882" y="250360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  verander-</a:t>
            </a:r>
            <a:r>
              <a:rPr lang="nl-NL" sz="600" i="1" dirty="0" err="1">
                <a:solidFill>
                  <a:schemeClr val="bg1">
                    <a:lumMod val="50000"/>
                  </a:schemeClr>
                </a:solidFill>
              </a:rPr>
              <a:t>pyramide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0EE136A-607E-99A1-9CF3-C00E745BD014}"/>
              </a:ext>
            </a:extLst>
          </p:cNvPr>
          <p:cNvSpPr txBox="1"/>
          <p:nvPr/>
        </p:nvSpPr>
        <p:spPr>
          <a:xfrm rot="16200000">
            <a:off x="9152386" y="24777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volgende activitei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02834D1-BE2F-8353-2EE4-CD369AB98C37}"/>
              </a:ext>
            </a:extLst>
          </p:cNvPr>
          <p:cNvSpPr txBox="1"/>
          <p:nvPr/>
        </p:nvSpPr>
        <p:spPr>
          <a:xfrm rot="16200000">
            <a:off x="9002963" y="4197792"/>
            <a:ext cx="959541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Reflectie outpu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422421D-2A5E-6780-541C-2DD2C2B432DD}"/>
              </a:ext>
            </a:extLst>
          </p:cNvPr>
          <p:cNvGrpSpPr/>
          <p:nvPr/>
        </p:nvGrpSpPr>
        <p:grpSpPr>
          <a:xfrm rot="10800000">
            <a:off x="170800" y="2074432"/>
            <a:ext cx="287923" cy="2633403"/>
            <a:chOff x="-28520" y="1297827"/>
            <a:chExt cx="287923" cy="263340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3CA88F3-BFF0-0B97-FFFD-7E4C2F45F72C}"/>
                </a:ext>
              </a:extLst>
            </p:cNvPr>
            <p:cNvSpPr txBox="1"/>
            <p:nvPr/>
          </p:nvSpPr>
          <p:spPr>
            <a:xfrm rot="16200000">
              <a:off x="-312701" y="1685265"/>
              <a:ext cx="95954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Verbinding met                 vorige activitei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9655385-734E-33A2-1891-7FD068BF909B}"/>
                </a:ext>
              </a:extLst>
            </p:cNvPr>
            <p:cNvSpPr txBox="1"/>
            <p:nvPr/>
          </p:nvSpPr>
          <p:spPr>
            <a:xfrm rot="16200000">
              <a:off x="-462124" y="3405293"/>
              <a:ext cx="95954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Reflectie input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45DBB363-0D10-351A-FC79-30B3AB19C3D9}"/>
              </a:ext>
            </a:extLst>
          </p:cNvPr>
          <p:cNvSpPr/>
          <p:nvPr/>
        </p:nvSpPr>
        <p:spPr>
          <a:xfrm>
            <a:off x="616352" y="2032846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AA122C3-7273-7C98-5C25-DCB7D66C64EE}"/>
              </a:ext>
            </a:extLst>
          </p:cNvPr>
          <p:cNvSpPr/>
          <p:nvPr/>
        </p:nvSpPr>
        <p:spPr>
          <a:xfrm>
            <a:off x="616352" y="3433998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5CD6DBC-0AAD-77A5-CAB7-97BB7C1D3418}"/>
              </a:ext>
            </a:extLst>
          </p:cNvPr>
          <p:cNvSpPr/>
          <p:nvPr/>
        </p:nvSpPr>
        <p:spPr>
          <a:xfrm>
            <a:off x="616352" y="483817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A402214-04B5-5EC2-19C7-396816C9224F}"/>
              </a:ext>
            </a:extLst>
          </p:cNvPr>
          <p:cNvSpPr/>
          <p:nvPr/>
        </p:nvSpPr>
        <p:spPr>
          <a:xfrm>
            <a:off x="616325" y="62715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43E6381-1254-E824-7EB2-E36E45BE65E8}"/>
              </a:ext>
            </a:extLst>
          </p:cNvPr>
          <p:cNvSpPr/>
          <p:nvPr/>
        </p:nvSpPr>
        <p:spPr>
          <a:xfrm>
            <a:off x="616379" y="631692"/>
            <a:ext cx="8648333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1160D3-CE6B-E973-C845-F2334002B403}"/>
              </a:ext>
            </a:extLst>
          </p:cNvPr>
          <p:cNvSpPr/>
          <p:nvPr/>
        </p:nvSpPr>
        <p:spPr>
          <a:xfrm>
            <a:off x="616366" y="3437017"/>
            <a:ext cx="8648333" cy="28083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A4A14F2-3A3D-3AC5-C411-15B3895DE5DA}"/>
              </a:ext>
            </a:extLst>
          </p:cNvPr>
          <p:cNvSpPr/>
          <p:nvPr/>
        </p:nvSpPr>
        <p:spPr>
          <a:xfrm>
            <a:off x="616268" y="625642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8C71B8E-7363-310C-5208-2BBCB586E867}"/>
              </a:ext>
            </a:extLst>
          </p:cNvPr>
          <p:cNvSpPr/>
          <p:nvPr/>
        </p:nvSpPr>
        <p:spPr>
          <a:xfrm>
            <a:off x="5668775" y="634715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C742A5-6FC6-F1EA-825B-DC34BC47CA40}"/>
              </a:ext>
            </a:extLst>
          </p:cNvPr>
          <p:cNvSpPr txBox="1"/>
          <p:nvPr/>
        </p:nvSpPr>
        <p:spPr>
          <a:xfrm>
            <a:off x="4304831" y="867450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Verander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FBACE7A-A6B6-BF9B-1506-6D531E200C8E}"/>
              </a:ext>
            </a:extLst>
          </p:cNvPr>
          <p:cNvSpPr txBox="1"/>
          <p:nvPr/>
        </p:nvSpPr>
        <p:spPr>
          <a:xfrm>
            <a:off x="4310525" y="2272382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Activitei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18EE357-0BC3-C1FF-3500-691F47110338}"/>
              </a:ext>
            </a:extLst>
          </p:cNvPr>
          <p:cNvSpPr txBox="1"/>
          <p:nvPr/>
        </p:nvSpPr>
        <p:spPr>
          <a:xfrm>
            <a:off x="4319600" y="366975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Uitkoms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C2DD496-A1E7-3FAD-0E56-30E3C2360EA1}"/>
              </a:ext>
            </a:extLst>
          </p:cNvPr>
          <p:cNvSpPr txBox="1"/>
          <p:nvPr/>
        </p:nvSpPr>
        <p:spPr>
          <a:xfrm>
            <a:off x="4299194" y="508753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Reflecti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B037DAE-5543-1782-8729-064BF5950D7F}"/>
              </a:ext>
            </a:extLst>
          </p:cNvPr>
          <p:cNvSpPr txBox="1"/>
          <p:nvPr/>
        </p:nvSpPr>
        <p:spPr>
          <a:xfrm>
            <a:off x="716858" y="791083"/>
            <a:ext cx="1831495" cy="5899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Formuleer</a:t>
            </a:r>
            <a:r>
              <a:rPr lang="en-GB" sz="600" dirty="0"/>
              <a:t> de </a:t>
            </a:r>
            <a:r>
              <a:rPr lang="en-GB" sz="600" dirty="0" err="1"/>
              <a:t>gewenste</a:t>
            </a:r>
            <a:r>
              <a:rPr lang="en-GB" sz="600" dirty="0"/>
              <a:t> </a:t>
            </a:r>
            <a:r>
              <a:rPr lang="en-GB" sz="600" dirty="0" err="1"/>
              <a:t>veranderdoel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Koppel het </a:t>
            </a:r>
            <a:r>
              <a:rPr lang="en-GB" sz="600" dirty="0" err="1"/>
              <a:t>aan</a:t>
            </a:r>
            <a:r>
              <a:rPr lang="en-GB" sz="600" dirty="0"/>
              <a:t>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veranderdoelstelling</a:t>
            </a:r>
            <a:r>
              <a:rPr lang="en-GB" sz="600" dirty="0"/>
              <a:t> op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hoger</a:t>
            </a:r>
            <a:r>
              <a:rPr lang="en-GB" sz="600" dirty="0"/>
              <a:t> </a:t>
            </a:r>
            <a:r>
              <a:rPr lang="en-GB" sz="600" dirty="0" err="1"/>
              <a:t>niveau</a:t>
            </a:r>
            <a:endParaRPr lang="en-GB" sz="600" dirty="0"/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Identificeer</a:t>
            </a:r>
            <a:r>
              <a:rPr lang="en-GB" sz="600" dirty="0"/>
              <a:t> </a:t>
            </a:r>
            <a:r>
              <a:rPr lang="en-GB" sz="600" dirty="0" err="1"/>
              <a:t>aannames</a:t>
            </a:r>
            <a:r>
              <a:rPr lang="en-GB" sz="600" dirty="0"/>
              <a:t> </a:t>
            </a:r>
            <a:r>
              <a:rPr lang="en-GB" sz="600" dirty="0" err="1"/>
              <a:t>en</a:t>
            </a:r>
            <a:r>
              <a:rPr lang="en-GB" sz="600" dirty="0"/>
              <a:t> </a:t>
            </a:r>
            <a:r>
              <a:rPr lang="en-GB" sz="600" dirty="0" err="1"/>
              <a:t>definieer</a:t>
            </a:r>
            <a:r>
              <a:rPr lang="en-GB" sz="600" dirty="0"/>
              <a:t> de </a:t>
            </a:r>
            <a:r>
              <a:rPr lang="en-GB" sz="600" dirty="0" err="1"/>
              <a:t>belangrijkste</a:t>
            </a:r>
            <a:r>
              <a:rPr lang="en-GB" sz="600" dirty="0"/>
              <a:t> </a:t>
            </a:r>
            <a:r>
              <a:rPr lang="en-GB" sz="600" dirty="0" err="1"/>
              <a:t>resultaten</a:t>
            </a:r>
            <a:endParaRPr lang="en-GB" sz="600" dirty="0"/>
          </a:p>
        </p:txBody>
      </p:sp>
      <p:pic>
        <p:nvPicPr>
          <p:cNvPr id="44" name="directions.png" descr="directions.png">
            <a:extLst>
              <a:ext uri="{FF2B5EF4-FFF2-40B4-BE49-F238E27FC236}">
                <a16:creationId xmlns:a16="http://schemas.microsoft.com/office/drawing/2014/main" id="{16FEDC8A-E1DE-7070-8D8A-B8A4036FB6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7584" y="119472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0" name="iot.png" descr="iot.png">
            <a:extLst>
              <a:ext uri="{FF2B5EF4-FFF2-40B4-BE49-F238E27FC236}">
                <a16:creationId xmlns:a16="http://schemas.microsoft.com/office/drawing/2014/main" id="{15F8975D-9E42-F0D8-2A90-15CF96C226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3598" y="540271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map.png" descr="map.png">
            <a:extLst>
              <a:ext uri="{FF2B5EF4-FFF2-40B4-BE49-F238E27FC236}">
                <a16:creationId xmlns:a16="http://schemas.microsoft.com/office/drawing/2014/main" id="{5638FDB9-4D35-281E-4820-3C0C7FBB9A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4717" y="394929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pencilcross.png" descr="pencilcross.png">
            <a:extLst>
              <a:ext uri="{FF2B5EF4-FFF2-40B4-BE49-F238E27FC236}">
                <a16:creationId xmlns:a16="http://schemas.microsoft.com/office/drawing/2014/main" id="{80E7BFCB-1F0B-8422-5A30-A74AC1BF7C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8805" y="2600414"/>
            <a:ext cx="688389" cy="688389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99E0DD7C-312F-EF7A-DD1C-18347E87344D}"/>
              </a:ext>
            </a:extLst>
          </p:cNvPr>
          <p:cNvSpPr txBox="1"/>
          <p:nvPr/>
        </p:nvSpPr>
        <p:spPr>
          <a:xfrm>
            <a:off x="716858" y="2173810"/>
            <a:ext cx="1831495" cy="405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paal</a:t>
            </a:r>
            <a:r>
              <a:rPr lang="en-GB" sz="600" dirty="0"/>
              <a:t> wat er </a:t>
            </a:r>
            <a:r>
              <a:rPr lang="en-GB" sz="600" dirty="0" err="1"/>
              <a:t>nodig</a:t>
            </a:r>
            <a:r>
              <a:rPr lang="en-GB" sz="600" dirty="0"/>
              <a:t> is </a:t>
            </a:r>
            <a:r>
              <a:rPr lang="en-GB" sz="600" dirty="0" err="1"/>
              <a:t>voor</a:t>
            </a:r>
            <a:r>
              <a:rPr lang="en-GB" sz="600" dirty="0"/>
              <a:t> de </a:t>
            </a:r>
            <a:r>
              <a:rPr lang="en-GB" sz="600" dirty="0" err="1"/>
              <a:t>activiteit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Kies partners om </a:t>
            </a:r>
            <a:r>
              <a:rPr lang="en-GB" sz="600" dirty="0" err="1"/>
              <a:t>te</a:t>
            </a:r>
            <a:r>
              <a:rPr lang="en-GB" sz="600" dirty="0"/>
              <a:t> </a:t>
            </a:r>
            <a:r>
              <a:rPr lang="en-GB" sz="600" dirty="0" err="1"/>
              <a:t>betrekken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Maak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realistische</a:t>
            </a:r>
            <a:r>
              <a:rPr lang="en-GB" sz="600" dirty="0"/>
              <a:t> planning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BCE6D7A-5284-3584-4603-E998C1DCF9D0}"/>
              </a:ext>
            </a:extLst>
          </p:cNvPr>
          <p:cNvSpPr txBox="1"/>
          <p:nvPr/>
        </p:nvSpPr>
        <p:spPr>
          <a:xfrm>
            <a:off x="716858" y="3585522"/>
            <a:ext cx="1831495" cy="405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slis</a:t>
            </a:r>
            <a:r>
              <a:rPr lang="en-GB" sz="600" dirty="0"/>
              <a:t> hoe je </a:t>
            </a:r>
            <a:r>
              <a:rPr lang="en-GB" sz="600" dirty="0" err="1"/>
              <a:t>uitkomstgegevens</a:t>
            </a:r>
            <a:r>
              <a:rPr lang="en-GB" sz="600" dirty="0"/>
              <a:t> </a:t>
            </a:r>
            <a:r>
              <a:rPr lang="en-GB" sz="600" dirty="0" err="1"/>
              <a:t>verzamelt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reid</a:t>
            </a:r>
            <a:r>
              <a:rPr lang="en-GB" sz="600" dirty="0"/>
              <a:t> het </a:t>
            </a:r>
            <a:r>
              <a:rPr lang="en-GB" sz="600" dirty="0" err="1"/>
              <a:t>verzamelen</a:t>
            </a:r>
            <a:r>
              <a:rPr lang="en-GB" sz="600" dirty="0"/>
              <a:t> van </a:t>
            </a:r>
            <a:r>
              <a:rPr lang="en-GB" sz="600" dirty="0" err="1"/>
              <a:t>gegevens</a:t>
            </a:r>
            <a:r>
              <a:rPr lang="en-GB" sz="600" dirty="0"/>
              <a:t> </a:t>
            </a:r>
            <a:r>
              <a:rPr lang="en-GB" sz="600" dirty="0" err="1"/>
              <a:t>voor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spreek</a:t>
            </a:r>
            <a:r>
              <a:rPr lang="en-GB" sz="600" dirty="0"/>
              <a:t> </a:t>
            </a:r>
            <a:r>
              <a:rPr lang="en-GB" sz="600" dirty="0" err="1"/>
              <a:t>mogelijke</a:t>
            </a:r>
            <a:r>
              <a:rPr lang="en-GB" sz="600" dirty="0"/>
              <a:t> </a:t>
            </a:r>
            <a:r>
              <a:rPr lang="en-GB" sz="600" dirty="0" err="1"/>
              <a:t>uitkomsten</a:t>
            </a:r>
            <a:r>
              <a:rPr lang="en-GB" sz="600" dirty="0"/>
              <a:t> van </a:t>
            </a:r>
            <a:r>
              <a:rPr lang="en-GB" sz="600" dirty="0" err="1"/>
              <a:t>tevoren</a:t>
            </a:r>
            <a:r>
              <a:rPr lang="en-GB" sz="600" dirty="0"/>
              <a:t>.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3928DE5-D1FA-4F02-1772-0FFA17F53FE2}"/>
              </a:ext>
            </a:extLst>
          </p:cNvPr>
          <p:cNvSpPr txBox="1"/>
          <p:nvPr/>
        </p:nvSpPr>
        <p:spPr>
          <a:xfrm>
            <a:off x="716858" y="4968249"/>
            <a:ext cx="1831495" cy="4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slis</a:t>
            </a:r>
            <a:r>
              <a:rPr lang="en-GB" sz="600" dirty="0"/>
              <a:t> </a:t>
            </a:r>
            <a:r>
              <a:rPr lang="en-GB" sz="600" dirty="0" err="1"/>
              <a:t>wie</a:t>
            </a:r>
            <a:r>
              <a:rPr lang="en-GB" sz="600" dirty="0"/>
              <a:t> </a:t>
            </a:r>
            <a:r>
              <a:rPr lang="en-GB" sz="600" dirty="0" err="1"/>
              <a:t>en</a:t>
            </a:r>
            <a:r>
              <a:rPr lang="en-GB" sz="600" dirty="0"/>
              <a:t> </a:t>
            </a:r>
            <a:r>
              <a:rPr lang="en-GB" sz="600" dirty="0" err="1"/>
              <a:t>wanneer</a:t>
            </a:r>
            <a:r>
              <a:rPr lang="en-GB" sz="600" dirty="0"/>
              <a:t> </a:t>
            </a:r>
            <a:r>
              <a:rPr lang="en-GB" sz="600" dirty="0" err="1"/>
              <a:t>te</a:t>
            </a:r>
            <a:r>
              <a:rPr lang="en-GB" sz="600" dirty="0"/>
              <a:t> </a:t>
            </a:r>
            <a:r>
              <a:rPr lang="en-GB" sz="600" dirty="0" err="1"/>
              <a:t>raadplegen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Kies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methode</a:t>
            </a:r>
            <a:r>
              <a:rPr lang="en-GB" sz="600" dirty="0"/>
              <a:t> </a:t>
            </a:r>
            <a:r>
              <a:rPr lang="en-GB" sz="600" dirty="0" err="1"/>
              <a:t>voor</a:t>
            </a:r>
            <a:r>
              <a:rPr lang="en-GB" sz="600" dirty="0"/>
              <a:t> </a:t>
            </a:r>
            <a:r>
              <a:rPr lang="en-GB" sz="600" dirty="0" err="1"/>
              <a:t>reflectie</a:t>
            </a:r>
            <a:r>
              <a:rPr lang="en-GB" sz="6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Bereid</a:t>
            </a:r>
            <a:r>
              <a:rPr lang="en-GB" sz="600" dirty="0"/>
              <a:t> het </a:t>
            </a:r>
            <a:r>
              <a:rPr lang="en-GB" sz="600" dirty="0" err="1"/>
              <a:t>documenteren</a:t>
            </a:r>
            <a:r>
              <a:rPr lang="en-GB" sz="600" dirty="0"/>
              <a:t> van de </a:t>
            </a:r>
            <a:r>
              <a:rPr lang="en-GB" sz="600" dirty="0" err="1"/>
              <a:t>reflectieresultaten</a:t>
            </a:r>
            <a:r>
              <a:rPr lang="en-GB" sz="600" dirty="0"/>
              <a:t> </a:t>
            </a:r>
            <a:r>
              <a:rPr lang="en-GB" sz="600" dirty="0" err="1"/>
              <a:t>voor</a:t>
            </a:r>
            <a:r>
              <a:rPr lang="en-GB" sz="600" dirty="0"/>
              <a:t>.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ECA1BEC-8E42-3652-B17A-F9F3D04AA62D}"/>
              </a:ext>
            </a:extLst>
          </p:cNvPr>
          <p:cNvSpPr txBox="1"/>
          <p:nvPr/>
        </p:nvSpPr>
        <p:spPr>
          <a:xfrm>
            <a:off x="5776177" y="777982"/>
            <a:ext cx="1831495" cy="4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Was het </a:t>
            </a:r>
            <a:r>
              <a:rPr lang="en-GB" sz="600" dirty="0" err="1"/>
              <a:t>veranderdoel</a:t>
            </a:r>
            <a:r>
              <a:rPr lang="en-GB" sz="600" dirty="0"/>
              <a:t> </a:t>
            </a:r>
            <a:r>
              <a:rPr lang="en-GB" sz="600" dirty="0" err="1"/>
              <a:t>goed</a:t>
            </a:r>
            <a:r>
              <a:rPr lang="en-GB" sz="600" dirty="0"/>
              <a:t> </a:t>
            </a:r>
            <a:r>
              <a:rPr lang="en-GB" sz="600" dirty="0" err="1"/>
              <a:t>geformuleerd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Zijn</a:t>
            </a:r>
            <a:r>
              <a:rPr lang="en-GB" sz="600" dirty="0"/>
              <a:t> je </a:t>
            </a:r>
            <a:r>
              <a:rPr lang="en-GB" sz="600" dirty="0" err="1"/>
              <a:t>veronderstellingen</a:t>
            </a:r>
            <a:r>
              <a:rPr lang="en-GB" sz="600" dirty="0"/>
              <a:t> </a:t>
            </a:r>
            <a:r>
              <a:rPr lang="en-GB" sz="600" dirty="0" err="1"/>
              <a:t>uitgekomen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Heeft</a:t>
            </a:r>
            <a:r>
              <a:rPr lang="en-GB" sz="600" dirty="0"/>
              <a:t> de </a:t>
            </a:r>
            <a:r>
              <a:rPr lang="en-GB" sz="600" dirty="0" err="1"/>
              <a:t>uitkomst</a:t>
            </a:r>
            <a:r>
              <a:rPr lang="en-GB" sz="600" dirty="0"/>
              <a:t> de </a:t>
            </a:r>
            <a:r>
              <a:rPr lang="en-GB" sz="600" dirty="0" err="1"/>
              <a:t>belangrijkste</a:t>
            </a:r>
            <a:r>
              <a:rPr lang="en-GB" sz="600" dirty="0"/>
              <a:t> </a:t>
            </a:r>
            <a:r>
              <a:rPr lang="en-GB" sz="600" dirty="0" err="1"/>
              <a:t>resultaten</a:t>
            </a:r>
            <a:r>
              <a:rPr lang="en-GB" sz="600" dirty="0"/>
              <a:t> </a:t>
            </a:r>
            <a:r>
              <a:rPr lang="en-GB" sz="600" dirty="0" err="1"/>
              <a:t>opgeleverd</a:t>
            </a:r>
            <a:r>
              <a:rPr lang="en-GB" sz="600" dirty="0"/>
              <a:t>?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3D603E-F7F9-04D4-A481-76A560B26AEA}"/>
              </a:ext>
            </a:extLst>
          </p:cNvPr>
          <p:cNvSpPr txBox="1"/>
          <p:nvPr/>
        </p:nvSpPr>
        <p:spPr>
          <a:xfrm>
            <a:off x="5776177" y="2160709"/>
            <a:ext cx="1831495" cy="4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Werden er </a:t>
            </a:r>
            <a:r>
              <a:rPr lang="en-GB" sz="600" dirty="0" err="1"/>
              <a:t>wijzigingen</a:t>
            </a:r>
            <a:r>
              <a:rPr lang="en-GB" sz="600" dirty="0"/>
              <a:t> </a:t>
            </a:r>
            <a:r>
              <a:rPr lang="en-GB" sz="600" dirty="0" err="1"/>
              <a:t>aangebracht</a:t>
            </a:r>
            <a:r>
              <a:rPr lang="en-GB" sz="600" dirty="0"/>
              <a:t> in de </a:t>
            </a:r>
            <a:r>
              <a:rPr lang="en-GB" sz="600" dirty="0" err="1"/>
              <a:t>activiteit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Heeft</a:t>
            </a:r>
            <a:r>
              <a:rPr lang="en-GB" sz="600" dirty="0"/>
              <a:t> </a:t>
            </a:r>
            <a:r>
              <a:rPr lang="en-GB" sz="600" dirty="0" err="1"/>
              <a:t>iedereen</a:t>
            </a:r>
            <a:r>
              <a:rPr lang="en-GB" sz="600" dirty="0"/>
              <a:t> / Wie </a:t>
            </a:r>
            <a:r>
              <a:rPr lang="en-GB" sz="600" dirty="0" err="1"/>
              <a:t>heeft</a:t>
            </a:r>
            <a:r>
              <a:rPr lang="en-GB" sz="600" dirty="0"/>
              <a:t> </a:t>
            </a:r>
            <a:r>
              <a:rPr lang="en-GB" sz="600" dirty="0" err="1"/>
              <a:t>meegedaan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Werd</a:t>
            </a:r>
            <a:r>
              <a:rPr lang="en-GB" sz="600" dirty="0"/>
              <a:t> </a:t>
            </a:r>
            <a:r>
              <a:rPr lang="en-GB" sz="600" dirty="0" err="1"/>
              <a:t>een</a:t>
            </a:r>
            <a:r>
              <a:rPr lang="en-GB" sz="600" dirty="0"/>
              <a:t> </a:t>
            </a:r>
            <a:r>
              <a:rPr lang="en-GB" sz="600" dirty="0" err="1"/>
              <a:t>alternatief</a:t>
            </a:r>
            <a:r>
              <a:rPr lang="en-GB" sz="600" dirty="0"/>
              <a:t> </a:t>
            </a:r>
            <a:r>
              <a:rPr lang="en-GB" sz="600" dirty="0" err="1"/>
              <a:t>duidelijk</a:t>
            </a:r>
            <a:r>
              <a:rPr lang="en-GB" sz="600" dirty="0"/>
              <a:t>?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67AA09E-4C39-382E-299E-9180A7BB6277}"/>
              </a:ext>
            </a:extLst>
          </p:cNvPr>
          <p:cNvSpPr txBox="1"/>
          <p:nvPr/>
        </p:nvSpPr>
        <p:spPr>
          <a:xfrm>
            <a:off x="5776177" y="3572421"/>
            <a:ext cx="1831495" cy="4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Is de </a:t>
            </a:r>
            <a:r>
              <a:rPr lang="en-GB" sz="600" dirty="0" err="1"/>
              <a:t>uitkomst</a:t>
            </a:r>
            <a:r>
              <a:rPr lang="en-GB" sz="600" dirty="0"/>
              <a:t> in </a:t>
            </a:r>
            <a:r>
              <a:rPr lang="en-GB" sz="600" dirty="0" err="1"/>
              <a:t>lijn</a:t>
            </a:r>
            <a:r>
              <a:rPr lang="en-GB" sz="600" dirty="0"/>
              <a:t> met de </a:t>
            </a:r>
            <a:r>
              <a:rPr lang="en-GB" sz="600" dirty="0" err="1"/>
              <a:t>verwachtingen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Kan de </a:t>
            </a:r>
            <a:r>
              <a:rPr lang="en-GB" sz="600" dirty="0" err="1"/>
              <a:t>uitkomst</a:t>
            </a:r>
            <a:r>
              <a:rPr lang="en-GB" sz="600" dirty="0"/>
              <a:t> direct </a:t>
            </a:r>
            <a:r>
              <a:rPr lang="en-GB" sz="600" dirty="0" err="1"/>
              <a:t>worden</a:t>
            </a:r>
            <a:r>
              <a:rPr lang="en-GB" sz="600" dirty="0"/>
              <a:t> </a:t>
            </a:r>
            <a:r>
              <a:rPr lang="en-GB" sz="600" dirty="0" err="1"/>
              <a:t>gebruikt</a:t>
            </a:r>
            <a:r>
              <a:rPr lang="en-GB" sz="600" dirty="0"/>
              <a:t> </a:t>
            </a:r>
            <a:r>
              <a:rPr lang="en-GB" sz="600" dirty="0" err="1"/>
              <a:t>voor</a:t>
            </a:r>
            <a:r>
              <a:rPr lang="en-GB" sz="600" dirty="0"/>
              <a:t> de </a:t>
            </a:r>
            <a:r>
              <a:rPr lang="en-GB" sz="600" dirty="0" err="1"/>
              <a:t>volgende</a:t>
            </a:r>
            <a:r>
              <a:rPr lang="en-GB" sz="600" dirty="0"/>
              <a:t> </a:t>
            </a:r>
            <a:r>
              <a:rPr lang="en-GB" sz="600" dirty="0" err="1"/>
              <a:t>fase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Levert de </a:t>
            </a:r>
            <a:r>
              <a:rPr lang="en-GB" sz="600" dirty="0" err="1"/>
              <a:t>uitkomst</a:t>
            </a:r>
            <a:r>
              <a:rPr lang="en-GB" sz="600" dirty="0"/>
              <a:t> het </a:t>
            </a:r>
            <a:r>
              <a:rPr lang="en-GB" sz="600" dirty="0" err="1"/>
              <a:t>veranderdoel</a:t>
            </a:r>
            <a:r>
              <a:rPr lang="en-GB" sz="600" dirty="0"/>
              <a:t> op?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F1D91055-B8A9-64AE-F795-E524A4E87AEC}"/>
              </a:ext>
            </a:extLst>
          </p:cNvPr>
          <p:cNvSpPr txBox="1"/>
          <p:nvPr/>
        </p:nvSpPr>
        <p:spPr>
          <a:xfrm>
            <a:off x="5776177" y="4955148"/>
            <a:ext cx="1831495" cy="405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/>
              <a:t>Is er op </a:t>
            </a:r>
            <a:r>
              <a:rPr lang="en-GB" sz="600" dirty="0" err="1"/>
              <a:t>elke</a:t>
            </a:r>
            <a:r>
              <a:rPr lang="en-GB" sz="600" dirty="0"/>
              <a:t> </a:t>
            </a:r>
            <a:r>
              <a:rPr lang="en-GB" sz="600" dirty="0" err="1"/>
              <a:t>fase</a:t>
            </a:r>
            <a:r>
              <a:rPr lang="en-GB" sz="600" dirty="0"/>
              <a:t> van het </a:t>
            </a:r>
            <a:r>
              <a:rPr lang="en-GB" sz="600" dirty="0" err="1"/>
              <a:t>traject</a:t>
            </a:r>
            <a:r>
              <a:rPr lang="en-GB" sz="600" dirty="0"/>
              <a:t> </a:t>
            </a:r>
            <a:r>
              <a:rPr lang="en-GB" sz="600" dirty="0" err="1"/>
              <a:t>gereflecteerd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Zijn</a:t>
            </a:r>
            <a:r>
              <a:rPr lang="en-GB" sz="600" dirty="0"/>
              <a:t> de de </a:t>
            </a:r>
            <a:r>
              <a:rPr lang="en-GB" sz="600" dirty="0" err="1"/>
              <a:t>reflectieresultaten</a:t>
            </a:r>
            <a:r>
              <a:rPr lang="en-GB" sz="600" dirty="0"/>
              <a:t> </a:t>
            </a:r>
            <a:r>
              <a:rPr lang="en-GB" sz="600" dirty="0" err="1"/>
              <a:t>samengevat</a:t>
            </a:r>
            <a:r>
              <a:rPr lang="en-GB" sz="6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600" dirty="0" err="1"/>
              <a:t>Zijn</a:t>
            </a:r>
            <a:r>
              <a:rPr lang="en-GB" sz="600" dirty="0"/>
              <a:t> de </a:t>
            </a:r>
            <a:r>
              <a:rPr lang="en-GB" sz="600" dirty="0" err="1"/>
              <a:t>resultaten</a:t>
            </a:r>
            <a:r>
              <a:rPr lang="en-GB" sz="600" dirty="0"/>
              <a:t> </a:t>
            </a:r>
            <a:r>
              <a:rPr lang="en-GB" sz="600" dirty="0" err="1"/>
              <a:t>gedeeld</a:t>
            </a:r>
            <a:r>
              <a:rPr lang="en-GB" sz="6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67278613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E3366F6-7DA6-FD7D-1815-783C6569E4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134E8A72-0356-3B0A-8E53-54266C21444C}"/>
              </a:ext>
            </a:extLst>
          </p:cNvPr>
          <p:cNvGrpSpPr/>
          <p:nvPr/>
        </p:nvGrpSpPr>
        <p:grpSpPr>
          <a:xfrm>
            <a:off x="4501125" y="6413486"/>
            <a:ext cx="903757" cy="249879"/>
            <a:chOff x="4382565" y="4729735"/>
            <a:chExt cx="903757" cy="249879"/>
          </a:xfrm>
        </p:grpSpPr>
        <p:sp>
          <p:nvSpPr>
            <p:cNvPr id="4" name="Chevron 3">
              <a:extLst>
                <a:ext uri="{FF2B5EF4-FFF2-40B4-BE49-F238E27FC236}">
                  <a16:creationId xmlns:a16="http://schemas.microsoft.com/office/drawing/2014/main" id="{81C9B8EC-D2B4-8421-5064-A739755EE0CC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A828C7F9-7B4E-636D-13F0-F5D55F3E34F8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2CFDB0-B7E4-73C5-7774-931F301E4D78}"/>
              </a:ext>
            </a:extLst>
          </p:cNvPr>
          <p:cNvGrpSpPr/>
          <p:nvPr/>
        </p:nvGrpSpPr>
        <p:grpSpPr>
          <a:xfrm rot="10800000">
            <a:off x="4501125" y="216158"/>
            <a:ext cx="903757" cy="249879"/>
            <a:chOff x="3930686" y="1974973"/>
            <a:chExt cx="903757" cy="249879"/>
          </a:xfrm>
        </p:grpSpPr>
        <p:sp>
          <p:nvSpPr>
            <p:cNvPr id="2" name="Chevron 1">
              <a:extLst>
                <a:ext uri="{FF2B5EF4-FFF2-40B4-BE49-F238E27FC236}">
                  <a16:creationId xmlns:a16="http://schemas.microsoft.com/office/drawing/2014/main" id="{3BB6FC59-BA46-2AF0-36D7-11892AED04BF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hevron 4">
              <a:extLst>
                <a:ext uri="{FF2B5EF4-FFF2-40B4-BE49-F238E27FC236}">
                  <a16:creationId xmlns:a16="http://schemas.microsoft.com/office/drawing/2014/main" id="{48F6A1F2-262C-7043-8DC0-3CE0CBF53A11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E17C56B-3A56-6A4B-7AFD-1AF47C81879F}"/>
              </a:ext>
            </a:extLst>
          </p:cNvPr>
          <p:cNvGrpSpPr/>
          <p:nvPr/>
        </p:nvGrpSpPr>
        <p:grpSpPr>
          <a:xfrm rot="16200000">
            <a:off x="9123887" y="3284505"/>
            <a:ext cx="903757" cy="249879"/>
            <a:chOff x="4382565" y="4729735"/>
            <a:chExt cx="903757" cy="249879"/>
          </a:xfrm>
          <a:solidFill>
            <a:schemeClr val="accent2">
              <a:lumMod val="75000"/>
            </a:schemeClr>
          </a:solidFill>
        </p:grpSpPr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F3F2A3CF-56A1-A2E4-32B1-7B8E662530D2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hevron 14">
              <a:extLst>
                <a:ext uri="{FF2B5EF4-FFF2-40B4-BE49-F238E27FC236}">
                  <a16:creationId xmlns:a16="http://schemas.microsoft.com/office/drawing/2014/main" id="{3BE7A300-3209-CE12-B840-B16FB91BE0CF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EA90899-1999-4CDA-70BC-8F122603F058}"/>
              </a:ext>
            </a:extLst>
          </p:cNvPr>
          <p:cNvGrpSpPr/>
          <p:nvPr/>
        </p:nvGrpSpPr>
        <p:grpSpPr>
          <a:xfrm rot="5400000">
            <a:off x="-155562" y="3299229"/>
            <a:ext cx="903757" cy="249879"/>
            <a:chOff x="3930686" y="1974973"/>
            <a:chExt cx="903757" cy="249879"/>
          </a:xfrm>
        </p:grpSpPr>
        <p:sp>
          <p:nvSpPr>
            <p:cNvPr id="17" name="Chevron 16">
              <a:extLst>
                <a:ext uri="{FF2B5EF4-FFF2-40B4-BE49-F238E27FC236}">
                  <a16:creationId xmlns:a16="http://schemas.microsoft.com/office/drawing/2014/main" id="{19915992-1050-C8E4-C226-40B7A2B2C13E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Chevron 17">
              <a:extLst>
                <a:ext uri="{FF2B5EF4-FFF2-40B4-BE49-F238E27FC236}">
                  <a16:creationId xmlns:a16="http://schemas.microsoft.com/office/drawing/2014/main" id="{0465EAF0-0F06-763C-06BF-C103DB734C3F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BECC74B4-F2AC-E015-BBC7-2FD35340DD07}"/>
              </a:ext>
            </a:extLst>
          </p:cNvPr>
          <p:cNvSpPr txBox="1"/>
          <p:nvPr/>
        </p:nvSpPr>
        <p:spPr>
          <a:xfrm>
            <a:off x="1885935" y="216155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>
                <a:solidFill>
                  <a:schemeClr val="bg1"/>
                </a:solidFill>
              </a:rPr>
              <a:t>Voorbereid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278A659-439D-90FD-954E-B38E8C42ACC7}"/>
              </a:ext>
            </a:extLst>
          </p:cNvPr>
          <p:cNvSpPr txBox="1"/>
          <p:nvPr/>
        </p:nvSpPr>
        <p:spPr>
          <a:xfrm>
            <a:off x="6622305" y="224619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>
            <a:defPPr marL="0" marR="0" indent="0" algn="l" defTabSz="107264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1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Voortga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77771DE-7461-8CCB-9E93-13398CF24865}"/>
              </a:ext>
            </a:extLst>
          </p:cNvPr>
          <p:cNvSpPr txBox="1"/>
          <p:nvPr/>
        </p:nvSpPr>
        <p:spPr>
          <a:xfrm>
            <a:off x="3541583" y="64475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D2EB619-C17F-6DF7-9B6B-DD42372235F1}"/>
              </a:ext>
            </a:extLst>
          </p:cNvPr>
          <p:cNvSpPr txBox="1"/>
          <p:nvPr/>
        </p:nvSpPr>
        <p:spPr>
          <a:xfrm>
            <a:off x="5404882" y="6447562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Mogelijke verbindingen met subcategorieë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B87CFC9-07B5-CD8C-6CB1-07FB99005B94}"/>
              </a:ext>
            </a:extLst>
          </p:cNvPr>
          <p:cNvSpPr txBox="1"/>
          <p:nvPr/>
        </p:nvSpPr>
        <p:spPr>
          <a:xfrm>
            <a:off x="3541583" y="250359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041F3F-0CFC-930B-E1CC-E4CA70548BBE}"/>
              </a:ext>
            </a:extLst>
          </p:cNvPr>
          <p:cNvSpPr txBox="1"/>
          <p:nvPr/>
        </p:nvSpPr>
        <p:spPr>
          <a:xfrm>
            <a:off x="5404882" y="250360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  verander-</a:t>
            </a:r>
            <a:r>
              <a:rPr lang="nl-NL" sz="600" i="1" dirty="0" err="1">
                <a:solidFill>
                  <a:schemeClr val="bg1">
                    <a:lumMod val="50000"/>
                  </a:schemeClr>
                </a:solidFill>
              </a:rPr>
              <a:t>pyramide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6FB416A-8EB0-BDF9-E39F-483C75BCCF5B}"/>
              </a:ext>
            </a:extLst>
          </p:cNvPr>
          <p:cNvSpPr txBox="1"/>
          <p:nvPr/>
        </p:nvSpPr>
        <p:spPr>
          <a:xfrm rot="16200000">
            <a:off x="9152386" y="24777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volgende activitei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39EACF5-177C-5F15-71AD-CD06FB5EFEFB}"/>
              </a:ext>
            </a:extLst>
          </p:cNvPr>
          <p:cNvSpPr txBox="1"/>
          <p:nvPr/>
        </p:nvSpPr>
        <p:spPr>
          <a:xfrm rot="16200000">
            <a:off x="9002963" y="4197792"/>
            <a:ext cx="959541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Reflectie outpu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15149B6-582B-67BD-42CD-1813145EA940}"/>
              </a:ext>
            </a:extLst>
          </p:cNvPr>
          <p:cNvGrpSpPr/>
          <p:nvPr/>
        </p:nvGrpSpPr>
        <p:grpSpPr>
          <a:xfrm rot="10800000">
            <a:off x="170800" y="2074432"/>
            <a:ext cx="287923" cy="2633403"/>
            <a:chOff x="-28520" y="1297827"/>
            <a:chExt cx="287923" cy="263340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8056C06-7FB4-C7E6-8C89-1730278F9938}"/>
                </a:ext>
              </a:extLst>
            </p:cNvPr>
            <p:cNvSpPr txBox="1"/>
            <p:nvPr/>
          </p:nvSpPr>
          <p:spPr>
            <a:xfrm rot="16200000">
              <a:off x="-312701" y="1685265"/>
              <a:ext cx="95954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Verbinding met                 vorige activitei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5A92C5A-3F16-13DA-FFFE-F694B9F199C4}"/>
                </a:ext>
              </a:extLst>
            </p:cNvPr>
            <p:cNvSpPr txBox="1"/>
            <p:nvPr/>
          </p:nvSpPr>
          <p:spPr>
            <a:xfrm rot="16200000">
              <a:off x="-462124" y="3405293"/>
              <a:ext cx="95954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Reflectie input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EDE8DB19-F728-F59B-F41E-38F5857C18D3}"/>
              </a:ext>
            </a:extLst>
          </p:cNvPr>
          <p:cNvSpPr/>
          <p:nvPr/>
        </p:nvSpPr>
        <p:spPr>
          <a:xfrm>
            <a:off x="616352" y="2032846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C6D1307-0F92-D24A-CD10-AD7278DA91D6}"/>
              </a:ext>
            </a:extLst>
          </p:cNvPr>
          <p:cNvSpPr/>
          <p:nvPr/>
        </p:nvSpPr>
        <p:spPr>
          <a:xfrm>
            <a:off x="616352" y="3433998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11A3DC2-2C0A-9B56-F526-BBC6702A51C6}"/>
              </a:ext>
            </a:extLst>
          </p:cNvPr>
          <p:cNvSpPr/>
          <p:nvPr/>
        </p:nvSpPr>
        <p:spPr>
          <a:xfrm>
            <a:off x="616352" y="483817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CB6A588-B8EC-1E40-4A7D-58A00F764F9B}"/>
              </a:ext>
            </a:extLst>
          </p:cNvPr>
          <p:cNvSpPr/>
          <p:nvPr/>
        </p:nvSpPr>
        <p:spPr>
          <a:xfrm>
            <a:off x="616325" y="62715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84AE9D7-4BA7-EE9C-B933-3C8018C5D136}"/>
              </a:ext>
            </a:extLst>
          </p:cNvPr>
          <p:cNvGrpSpPr/>
          <p:nvPr/>
        </p:nvGrpSpPr>
        <p:grpSpPr>
          <a:xfrm>
            <a:off x="616379" y="631692"/>
            <a:ext cx="8648333" cy="5613684"/>
            <a:chOff x="156183" y="258552"/>
            <a:chExt cx="8322435" cy="4523521"/>
          </a:xfrm>
          <a:solidFill>
            <a:schemeClr val="bg1">
              <a:lumMod val="85000"/>
              <a:alpha val="29804"/>
            </a:schemeClr>
          </a:solidFill>
        </p:grpSpPr>
        <p:sp>
          <p:nvSpPr>
            <p:cNvPr id="6" name="Chevron 5">
              <a:extLst>
                <a:ext uri="{FF2B5EF4-FFF2-40B4-BE49-F238E27FC236}">
                  <a16:creationId xmlns:a16="http://schemas.microsoft.com/office/drawing/2014/main" id="{3B4A9B89-B021-0E09-4405-B09695573628}"/>
                </a:ext>
              </a:extLst>
            </p:cNvPr>
            <p:cNvSpPr/>
            <p:nvPr/>
          </p:nvSpPr>
          <p:spPr>
            <a:xfrm>
              <a:off x="156183" y="258553"/>
              <a:ext cx="1401583" cy="452352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Chevron 6">
              <a:extLst>
                <a:ext uri="{FF2B5EF4-FFF2-40B4-BE49-F238E27FC236}">
                  <a16:creationId xmlns:a16="http://schemas.microsoft.com/office/drawing/2014/main" id="{F2516024-A5E0-05DA-0F19-FF6AA59B827A}"/>
                </a:ext>
              </a:extLst>
            </p:cNvPr>
            <p:cNvSpPr/>
            <p:nvPr/>
          </p:nvSpPr>
          <p:spPr>
            <a:xfrm>
              <a:off x="1311270" y="258553"/>
              <a:ext cx="1401583" cy="452352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Chevron 7">
              <a:extLst>
                <a:ext uri="{FF2B5EF4-FFF2-40B4-BE49-F238E27FC236}">
                  <a16:creationId xmlns:a16="http://schemas.microsoft.com/office/drawing/2014/main" id="{9DCA8394-6522-F4DA-CD74-E56BA55F36D2}"/>
                </a:ext>
              </a:extLst>
            </p:cNvPr>
            <p:cNvSpPr/>
            <p:nvPr/>
          </p:nvSpPr>
          <p:spPr>
            <a:xfrm>
              <a:off x="2466357" y="258552"/>
              <a:ext cx="1401583" cy="452352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Chevron 8">
              <a:extLst>
                <a:ext uri="{FF2B5EF4-FFF2-40B4-BE49-F238E27FC236}">
                  <a16:creationId xmlns:a16="http://schemas.microsoft.com/office/drawing/2014/main" id="{FFA53FF5-8F72-5AD8-E5CC-155F75CCBA8C}"/>
                </a:ext>
              </a:extLst>
            </p:cNvPr>
            <p:cNvSpPr/>
            <p:nvPr/>
          </p:nvSpPr>
          <p:spPr>
            <a:xfrm>
              <a:off x="3616609" y="258552"/>
              <a:ext cx="1401583" cy="452352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Chevron 18">
              <a:extLst>
                <a:ext uri="{FF2B5EF4-FFF2-40B4-BE49-F238E27FC236}">
                  <a16:creationId xmlns:a16="http://schemas.microsoft.com/office/drawing/2014/main" id="{3B499CFD-8D0C-5FFB-8C9D-F2B32A3C3705}"/>
                </a:ext>
              </a:extLst>
            </p:cNvPr>
            <p:cNvSpPr/>
            <p:nvPr/>
          </p:nvSpPr>
          <p:spPr>
            <a:xfrm>
              <a:off x="4771696" y="258552"/>
              <a:ext cx="1401583" cy="452352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Chevron 19">
              <a:extLst>
                <a:ext uri="{FF2B5EF4-FFF2-40B4-BE49-F238E27FC236}">
                  <a16:creationId xmlns:a16="http://schemas.microsoft.com/office/drawing/2014/main" id="{EA34D826-4F42-78C5-BDE0-C3394DCF8579}"/>
                </a:ext>
              </a:extLst>
            </p:cNvPr>
            <p:cNvSpPr/>
            <p:nvPr/>
          </p:nvSpPr>
          <p:spPr>
            <a:xfrm>
              <a:off x="5921948" y="258552"/>
              <a:ext cx="1401583" cy="452352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Chevron 20">
              <a:extLst>
                <a:ext uri="{FF2B5EF4-FFF2-40B4-BE49-F238E27FC236}">
                  <a16:creationId xmlns:a16="http://schemas.microsoft.com/office/drawing/2014/main" id="{3CBF1696-AA9F-F985-09F7-A2292811F6ED}"/>
                </a:ext>
              </a:extLst>
            </p:cNvPr>
            <p:cNvSpPr/>
            <p:nvPr/>
          </p:nvSpPr>
          <p:spPr>
            <a:xfrm>
              <a:off x="7077035" y="258552"/>
              <a:ext cx="1401583" cy="452352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D2875FE6-4D99-D0D9-CFD4-0DD4ED42EEE0}"/>
              </a:ext>
            </a:extLst>
          </p:cNvPr>
          <p:cNvSpPr/>
          <p:nvPr/>
        </p:nvSpPr>
        <p:spPr>
          <a:xfrm>
            <a:off x="616379" y="631692"/>
            <a:ext cx="8648333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D42AF75-FDA5-33BB-A696-1718636847AA}"/>
              </a:ext>
            </a:extLst>
          </p:cNvPr>
          <p:cNvSpPr/>
          <p:nvPr/>
        </p:nvSpPr>
        <p:spPr>
          <a:xfrm>
            <a:off x="616366" y="3437017"/>
            <a:ext cx="8648333" cy="28083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A7C4168-1E13-DC81-CFE3-2425B6DAA1DF}"/>
              </a:ext>
            </a:extLst>
          </p:cNvPr>
          <p:cNvSpPr/>
          <p:nvPr/>
        </p:nvSpPr>
        <p:spPr>
          <a:xfrm>
            <a:off x="616268" y="625642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A1AD2AB-D3F4-34D4-E85E-34CB4657CF43}"/>
              </a:ext>
            </a:extLst>
          </p:cNvPr>
          <p:cNvSpPr/>
          <p:nvPr/>
        </p:nvSpPr>
        <p:spPr>
          <a:xfrm>
            <a:off x="5668775" y="634715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81E443C-1107-57A0-4C1C-13305C94D65D}"/>
              </a:ext>
            </a:extLst>
          </p:cNvPr>
          <p:cNvSpPr txBox="1"/>
          <p:nvPr/>
        </p:nvSpPr>
        <p:spPr>
          <a:xfrm>
            <a:off x="4304831" y="867450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Verander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A3B72EC-9258-A8B7-7C4B-BEBDAD877C16}"/>
              </a:ext>
            </a:extLst>
          </p:cNvPr>
          <p:cNvSpPr txBox="1"/>
          <p:nvPr/>
        </p:nvSpPr>
        <p:spPr>
          <a:xfrm>
            <a:off x="4310525" y="2272382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Activitei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7720BA1-BE7A-CCEE-41FF-82F49A3ED76F}"/>
              </a:ext>
            </a:extLst>
          </p:cNvPr>
          <p:cNvSpPr txBox="1"/>
          <p:nvPr/>
        </p:nvSpPr>
        <p:spPr>
          <a:xfrm>
            <a:off x="4319600" y="366975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Uitkoms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FAF781F-33CB-4E06-3489-0417C817A6A7}"/>
              </a:ext>
            </a:extLst>
          </p:cNvPr>
          <p:cNvSpPr txBox="1"/>
          <p:nvPr/>
        </p:nvSpPr>
        <p:spPr>
          <a:xfrm>
            <a:off x="4299194" y="508753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Reflecti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66149F0-6C9D-D4CD-A79F-D5D22563AC03}"/>
              </a:ext>
            </a:extLst>
          </p:cNvPr>
          <p:cNvSpPr txBox="1"/>
          <p:nvPr/>
        </p:nvSpPr>
        <p:spPr>
          <a:xfrm>
            <a:off x="716858" y="791083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Formuleer</a:t>
            </a:r>
            <a:r>
              <a:rPr lang="en-GB" sz="400" dirty="0"/>
              <a:t> de </a:t>
            </a:r>
            <a:r>
              <a:rPr lang="en-GB" sz="400" dirty="0" err="1"/>
              <a:t>gewenste</a:t>
            </a:r>
            <a:r>
              <a:rPr lang="en-GB" sz="400" dirty="0"/>
              <a:t> </a:t>
            </a:r>
            <a:r>
              <a:rPr lang="en-GB" sz="400" dirty="0" err="1"/>
              <a:t>veranderdoel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Koppel het </a:t>
            </a:r>
            <a:r>
              <a:rPr lang="en-GB" sz="400" dirty="0" err="1"/>
              <a:t>aan</a:t>
            </a:r>
            <a:r>
              <a:rPr lang="en-GB" sz="400" dirty="0"/>
              <a:t>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veranderdoelstelling</a:t>
            </a:r>
            <a:r>
              <a:rPr lang="en-GB" sz="400" dirty="0"/>
              <a:t> op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hoger</a:t>
            </a:r>
            <a:r>
              <a:rPr lang="en-GB" sz="400" dirty="0"/>
              <a:t> </a:t>
            </a:r>
            <a:r>
              <a:rPr lang="en-GB" sz="400" dirty="0" err="1"/>
              <a:t>niveau</a:t>
            </a:r>
            <a:endParaRPr lang="en-GB" sz="400" dirty="0"/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Identificeer</a:t>
            </a:r>
            <a:r>
              <a:rPr lang="en-GB" sz="400" dirty="0"/>
              <a:t> </a:t>
            </a:r>
            <a:r>
              <a:rPr lang="en-GB" sz="400" dirty="0" err="1"/>
              <a:t>aannames</a:t>
            </a:r>
            <a:r>
              <a:rPr lang="en-GB" sz="400" dirty="0"/>
              <a:t> </a:t>
            </a:r>
            <a:r>
              <a:rPr lang="en-GB" sz="400" dirty="0" err="1"/>
              <a:t>en</a:t>
            </a:r>
            <a:r>
              <a:rPr lang="en-GB" sz="400" dirty="0"/>
              <a:t> </a:t>
            </a:r>
            <a:r>
              <a:rPr lang="en-GB" sz="400" dirty="0" err="1"/>
              <a:t>definieer</a:t>
            </a:r>
            <a:r>
              <a:rPr lang="en-GB" sz="400" dirty="0"/>
              <a:t> de </a:t>
            </a:r>
            <a:r>
              <a:rPr lang="en-GB" sz="400" dirty="0" err="1"/>
              <a:t>belangrijkste</a:t>
            </a:r>
            <a:r>
              <a:rPr lang="en-GB" sz="400" dirty="0"/>
              <a:t> </a:t>
            </a:r>
            <a:r>
              <a:rPr lang="en-GB" sz="400" dirty="0" err="1"/>
              <a:t>resultaten</a:t>
            </a:r>
            <a:endParaRPr lang="en-GB" sz="400" dirty="0"/>
          </a:p>
        </p:txBody>
      </p:sp>
      <p:pic>
        <p:nvPicPr>
          <p:cNvPr id="58" name="postit.png" descr="postit.png">
            <a:extLst>
              <a:ext uri="{FF2B5EF4-FFF2-40B4-BE49-F238E27FC236}">
                <a16:creationId xmlns:a16="http://schemas.microsoft.com/office/drawing/2014/main" id="{BF69086E-498C-9EC8-BF7D-1E216387B1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782485" y="1093089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postit.png" descr="postit.png">
            <a:extLst>
              <a:ext uri="{FF2B5EF4-FFF2-40B4-BE49-F238E27FC236}">
                <a16:creationId xmlns:a16="http://schemas.microsoft.com/office/drawing/2014/main" id="{5278064A-8543-916A-617C-4F866E78009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1684707" y="1112242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postit.png" descr="postit.png">
            <a:extLst>
              <a:ext uri="{FF2B5EF4-FFF2-40B4-BE49-F238E27FC236}">
                <a16:creationId xmlns:a16="http://schemas.microsoft.com/office/drawing/2014/main" id="{6D767B29-11AC-E2E5-6F48-97E3B8EEE4D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3312611" y="885841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39" name="postit.png" descr="postit.png">
            <a:extLst>
              <a:ext uri="{FF2B5EF4-FFF2-40B4-BE49-F238E27FC236}">
                <a16:creationId xmlns:a16="http://schemas.microsoft.com/office/drawing/2014/main" id="{F5AF434E-69BE-AB08-80F9-5C31E5BF339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412967" y="737569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44" name="directions.png" descr="directions.png">
            <a:extLst>
              <a:ext uri="{FF2B5EF4-FFF2-40B4-BE49-F238E27FC236}">
                <a16:creationId xmlns:a16="http://schemas.microsoft.com/office/drawing/2014/main" id="{D3E18981-88E7-F98D-A466-ADE2278338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7584" y="119472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0" name="iot.png" descr="iot.png">
            <a:extLst>
              <a:ext uri="{FF2B5EF4-FFF2-40B4-BE49-F238E27FC236}">
                <a16:creationId xmlns:a16="http://schemas.microsoft.com/office/drawing/2014/main" id="{FFE10524-CC23-FFDD-EE9A-8666466084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3598" y="540271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map.png" descr="map.png">
            <a:extLst>
              <a:ext uri="{FF2B5EF4-FFF2-40B4-BE49-F238E27FC236}">
                <a16:creationId xmlns:a16="http://schemas.microsoft.com/office/drawing/2014/main" id="{6F6ED830-64A3-9D37-B8B7-63797CB17F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4717" y="394929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pencilcross.png" descr="pencilcross.png">
            <a:extLst>
              <a:ext uri="{FF2B5EF4-FFF2-40B4-BE49-F238E27FC236}">
                <a16:creationId xmlns:a16="http://schemas.microsoft.com/office/drawing/2014/main" id="{B1A772D5-6E3B-1169-178B-E8A5B446A2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8805" y="2600414"/>
            <a:ext cx="688389" cy="688389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B7D8E713-387B-77BA-E45B-2303B9DBC2E7}"/>
              </a:ext>
            </a:extLst>
          </p:cNvPr>
          <p:cNvSpPr txBox="1"/>
          <p:nvPr/>
        </p:nvSpPr>
        <p:spPr>
          <a:xfrm>
            <a:off x="716858" y="2173810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paal</a:t>
            </a:r>
            <a:r>
              <a:rPr lang="en-GB" sz="400" dirty="0"/>
              <a:t> wat er </a:t>
            </a:r>
            <a:r>
              <a:rPr lang="en-GB" sz="400" dirty="0" err="1"/>
              <a:t>nodig</a:t>
            </a:r>
            <a:r>
              <a:rPr lang="en-GB" sz="400" dirty="0"/>
              <a:t> is </a:t>
            </a:r>
            <a:r>
              <a:rPr lang="en-GB" sz="400" dirty="0" err="1"/>
              <a:t>voor</a:t>
            </a:r>
            <a:r>
              <a:rPr lang="en-GB" sz="400" dirty="0"/>
              <a:t> de </a:t>
            </a:r>
            <a:r>
              <a:rPr lang="en-GB" sz="400" dirty="0" err="1"/>
              <a:t>activiteit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Kies partners om </a:t>
            </a:r>
            <a:r>
              <a:rPr lang="en-GB" sz="400" dirty="0" err="1"/>
              <a:t>te</a:t>
            </a:r>
            <a:r>
              <a:rPr lang="en-GB" sz="400" dirty="0"/>
              <a:t> </a:t>
            </a:r>
            <a:r>
              <a:rPr lang="en-GB" sz="400" dirty="0" err="1"/>
              <a:t>betrekken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Maak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realistische</a:t>
            </a:r>
            <a:r>
              <a:rPr lang="en-GB" sz="400" dirty="0"/>
              <a:t> planning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19871F2-FEBD-49EA-0E8C-238F14FF53E1}"/>
              </a:ext>
            </a:extLst>
          </p:cNvPr>
          <p:cNvSpPr txBox="1"/>
          <p:nvPr/>
        </p:nvSpPr>
        <p:spPr>
          <a:xfrm>
            <a:off x="716858" y="3585522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slis</a:t>
            </a:r>
            <a:r>
              <a:rPr lang="en-GB" sz="400" dirty="0"/>
              <a:t> hoe je </a:t>
            </a:r>
            <a:r>
              <a:rPr lang="en-GB" sz="400" dirty="0" err="1"/>
              <a:t>uitkomstgegevens</a:t>
            </a:r>
            <a:r>
              <a:rPr lang="en-GB" sz="400" dirty="0"/>
              <a:t> </a:t>
            </a:r>
            <a:r>
              <a:rPr lang="en-GB" sz="400" dirty="0" err="1"/>
              <a:t>verzamelt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reid</a:t>
            </a:r>
            <a:r>
              <a:rPr lang="en-GB" sz="400" dirty="0"/>
              <a:t> het </a:t>
            </a:r>
            <a:r>
              <a:rPr lang="en-GB" sz="400" dirty="0" err="1"/>
              <a:t>verzamelen</a:t>
            </a:r>
            <a:r>
              <a:rPr lang="en-GB" sz="400" dirty="0"/>
              <a:t> van </a:t>
            </a:r>
            <a:r>
              <a:rPr lang="en-GB" sz="400" dirty="0" err="1"/>
              <a:t>gegevens</a:t>
            </a:r>
            <a:r>
              <a:rPr lang="en-GB" sz="400" dirty="0"/>
              <a:t> </a:t>
            </a:r>
            <a:r>
              <a:rPr lang="en-GB" sz="400" dirty="0" err="1"/>
              <a:t>voor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spreek</a:t>
            </a:r>
            <a:r>
              <a:rPr lang="en-GB" sz="400" dirty="0"/>
              <a:t> </a:t>
            </a:r>
            <a:r>
              <a:rPr lang="en-GB" sz="400" dirty="0" err="1"/>
              <a:t>mogelijke</a:t>
            </a:r>
            <a:r>
              <a:rPr lang="en-GB" sz="400" dirty="0"/>
              <a:t> </a:t>
            </a:r>
            <a:r>
              <a:rPr lang="en-GB" sz="400" dirty="0" err="1"/>
              <a:t>uitkomsten</a:t>
            </a:r>
            <a:r>
              <a:rPr lang="en-GB" sz="400" dirty="0"/>
              <a:t> van </a:t>
            </a:r>
            <a:r>
              <a:rPr lang="en-GB" sz="400" dirty="0" err="1"/>
              <a:t>tevoren</a:t>
            </a:r>
            <a:r>
              <a:rPr lang="en-GB" sz="400" dirty="0"/>
              <a:t>.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0579657-B87A-8B04-C1C3-7E3FD420E0D1}"/>
              </a:ext>
            </a:extLst>
          </p:cNvPr>
          <p:cNvSpPr txBox="1"/>
          <p:nvPr/>
        </p:nvSpPr>
        <p:spPr>
          <a:xfrm>
            <a:off x="716858" y="4968249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slis</a:t>
            </a:r>
            <a:r>
              <a:rPr lang="en-GB" sz="400" dirty="0"/>
              <a:t> </a:t>
            </a:r>
            <a:r>
              <a:rPr lang="en-GB" sz="400" dirty="0" err="1"/>
              <a:t>wie</a:t>
            </a:r>
            <a:r>
              <a:rPr lang="en-GB" sz="400" dirty="0"/>
              <a:t> </a:t>
            </a:r>
            <a:r>
              <a:rPr lang="en-GB" sz="400" dirty="0" err="1"/>
              <a:t>en</a:t>
            </a:r>
            <a:r>
              <a:rPr lang="en-GB" sz="400" dirty="0"/>
              <a:t> </a:t>
            </a:r>
            <a:r>
              <a:rPr lang="en-GB" sz="400" dirty="0" err="1"/>
              <a:t>wanneer</a:t>
            </a:r>
            <a:r>
              <a:rPr lang="en-GB" sz="400" dirty="0"/>
              <a:t> </a:t>
            </a:r>
            <a:r>
              <a:rPr lang="en-GB" sz="400" dirty="0" err="1"/>
              <a:t>te</a:t>
            </a:r>
            <a:r>
              <a:rPr lang="en-GB" sz="400" dirty="0"/>
              <a:t> </a:t>
            </a:r>
            <a:r>
              <a:rPr lang="en-GB" sz="400" dirty="0" err="1"/>
              <a:t>raadplegen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Kies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methode</a:t>
            </a:r>
            <a:r>
              <a:rPr lang="en-GB" sz="400" dirty="0"/>
              <a:t> </a:t>
            </a:r>
            <a:r>
              <a:rPr lang="en-GB" sz="400" dirty="0" err="1"/>
              <a:t>voor</a:t>
            </a:r>
            <a:r>
              <a:rPr lang="en-GB" sz="400" dirty="0"/>
              <a:t> </a:t>
            </a:r>
            <a:r>
              <a:rPr lang="en-GB" sz="400" dirty="0" err="1"/>
              <a:t>reflectie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reid</a:t>
            </a:r>
            <a:r>
              <a:rPr lang="en-GB" sz="400" dirty="0"/>
              <a:t> het </a:t>
            </a:r>
            <a:r>
              <a:rPr lang="en-GB" sz="400" dirty="0" err="1"/>
              <a:t>documenteren</a:t>
            </a:r>
            <a:r>
              <a:rPr lang="en-GB" sz="400" dirty="0"/>
              <a:t> van de </a:t>
            </a:r>
            <a:r>
              <a:rPr lang="en-GB" sz="400" dirty="0" err="1"/>
              <a:t>reflectieresultaten</a:t>
            </a:r>
            <a:r>
              <a:rPr lang="en-GB" sz="400" dirty="0"/>
              <a:t> </a:t>
            </a:r>
            <a:r>
              <a:rPr lang="en-GB" sz="400" dirty="0" err="1"/>
              <a:t>voor</a:t>
            </a:r>
            <a:r>
              <a:rPr lang="en-GB" sz="400" dirty="0"/>
              <a:t>.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2EA66ED-8688-AAA9-1DB0-D9D27342E417}"/>
              </a:ext>
            </a:extLst>
          </p:cNvPr>
          <p:cNvSpPr txBox="1"/>
          <p:nvPr/>
        </p:nvSpPr>
        <p:spPr>
          <a:xfrm>
            <a:off x="5776177" y="777982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Was het </a:t>
            </a:r>
            <a:r>
              <a:rPr lang="en-GB" sz="400" dirty="0" err="1"/>
              <a:t>veranderdoel</a:t>
            </a:r>
            <a:r>
              <a:rPr lang="en-GB" sz="400" dirty="0"/>
              <a:t> </a:t>
            </a:r>
            <a:r>
              <a:rPr lang="en-GB" sz="400" dirty="0" err="1"/>
              <a:t>goed</a:t>
            </a:r>
            <a:r>
              <a:rPr lang="en-GB" sz="400" dirty="0"/>
              <a:t> </a:t>
            </a:r>
            <a:r>
              <a:rPr lang="en-GB" sz="400" dirty="0" err="1"/>
              <a:t>geformuleerd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Zijn</a:t>
            </a:r>
            <a:r>
              <a:rPr lang="en-GB" sz="400" dirty="0"/>
              <a:t> je </a:t>
            </a:r>
            <a:r>
              <a:rPr lang="en-GB" sz="400" dirty="0" err="1"/>
              <a:t>veronderstellingen</a:t>
            </a:r>
            <a:r>
              <a:rPr lang="en-GB" sz="400" dirty="0"/>
              <a:t> </a:t>
            </a:r>
            <a:r>
              <a:rPr lang="en-GB" sz="400" dirty="0" err="1"/>
              <a:t>uitgekomen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Heeft</a:t>
            </a:r>
            <a:r>
              <a:rPr lang="en-GB" sz="400" dirty="0"/>
              <a:t> de </a:t>
            </a:r>
            <a:r>
              <a:rPr lang="en-GB" sz="400" dirty="0" err="1"/>
              <a:t>uitkomst</a:t>
            </a:r>
            <a:r>
              <a:rPr lang="en-GB" sz="400" dirty="0"/>
              <a:t> de </a:t>
            </a:r>
            <a:r>
              <a:rPr lang="en-GB" sz="400" dirty="0" err="1"/>
              <a:t>belangrijkste</a:t>
            </a:r>
            <a:r>
              <a:rPr lang="en-GB" sz="400" dirty="0"/>
              <a:t> </a:t>
            </a:r>
            <a:r>
              <a:rPr lang="en-GB" sz="400" dirty="0" err="1"/>
              <a:t>resultaten</a:t>
            </a:r>
            <a:r>
              <a:rPr lang="en-GB" sz="400" dirty="0"/>
              <a:t> </a:t>
            </a:r>
            <a:r>
              <a:rPr lang="en-GB" sz="400" dirty="0" err="1"/>
              <a:t>opgeleverd</a:t>
            </a:r>
            <a:r>
              <a:rPr lang="en-GB" sz="400" dirty="0"/>
              <a:t>?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6AB1751-8E24-0B33-7103-EFA8A4CA12B4}"/>
              </a:ext>
            </a:extLst>
          </p:cNvPr>
          <p:cNvSpPr txBox="1"/>
          <p:nvPr/>
        </p:nvSpPr>
        <p:spPr>
          <a:xfrm>
            <a:off x="5776177" y="2160709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Werden er </a:t>
            </a:r>
            <a:r>
              <a:rPr lang="en-GB" sz="400" dirty="0" err="1"/>
              <a:t>wijzigingen</a:t>
            </a:r>
            <a:r>
              <a:rPr lang="en-GB" sz="400" dirty="0"/>
              <a:t> </a:t>
            </a:r>
            <a:r>
              <a:rPr lang="en-GB" sz="400" dirty="0" err="1"/>
              <a:t>aangebracht</a:t>
            </a:r>
            <a:r>
              <a:rPr lang="en-GB" sz="400" dirty="0"/>
              <a:t> in de </a:t>
            </a:r>
            <a:r>
              <a:rPr lang="en-GB" sz="400" dirty="0" err="1"/>
              <a:t>activiteit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Heeft</a:t>
            </a:r>
            <a:r>
              <a:rPr lang="en-GB" sz="400" dirty="0"/>
              <a:t> </a:t>
            </a:r>
            <a:r>
              <a:rPr lang="en-GB" sz="400" dirty="0" err="1"/>
              <a:t>iedereen</a:t>
            </a:r>
            <a:r>
              <a:rPr lang="en-GB" sz="400" dirty="0"/>
              <a:t> / Wie </a:t>
            </a:r>
            <a:r>
              <a:rPr lang="en-GB" sz="400" dirty="0" err="1"/>
              <a:t>heeft</a:t>
            </a:r>
            <a:r>
              <a:rPr lang="en-GB" sz="400" dirty="0"/>
              <a:t> </a:t>
            </a:r>
            <a:r>
              <a:rPr lang="en-GB" sz="400" dirty="0" err="1"/>
              <a:t>meegedaan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Werd</a:t>
            </a:r>
            <a:r>
              <a:rPr lang="en-GB" sz="400" dirty="0"/>
              <a:t>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alternatief</a:t>
            </a:r>
            <a:r>
              <a:rPr lang="en-GB" sz="400" dirty="0"/>
              <a:t> </a:t>
            </a:r>
            <a:r>
              <a:rPr lang="en-GB" sz="400" dirty="0" err="1"/>
              <a:t>duidelijk</a:t>
            </a:r>
            <a:r>
              <a:rPr lang="en-GB" sz="400" dirty="0"/>
              <a:t>?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2C4A2AB-9D3F-2404-6C35-98CAA15755E2}"/>
              </a:ext>
            </a:extLst>
          </p:cNvPr>
          <p:cNvSpPr txBox="1"/>
          <p:nvPr/>
        </p:nvSpPr>
        <p:spPr>
          <a:xfrm>
            <a:off x="5776177" y="3572421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Is de </a:t>
            </a:r>
            <a:r>
              <a:rPr lang="en-GB" sz="400" dirty="0" err="1"/>
              <a:t>uitkomst</a:t>
            </a:r>
            <a:r>
              <a:rPr lang="en-GB" sz="400" dirty="0"/>
              <a:t> in </a:t>
            </a:r>
            <a:r>
              <a:rPr lang="en-GB" sz="400" dirty="0" err="1"/>
              <a:t>lijn</a:t>
            </a:r>
            <a:r>
              <a:rPr lang="en-GB" sz="400" dirty="0"/>
              <a:t> met de </a:t>
            </a:r>
            <a:r>
              <a:rPr lang="en-GB" sz="400" dirty="0" err="1"/>
              <a:t>verwachtingen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Kan de </a:t>
            </a:r>
            <a:r>
              <a:rPr lang="en-GB" sz="400" dirty="0" err="1"/>
              <a:t>uitkomst</a:t>
            </a:r>
            <a:r>
              <a:rPr lang="en-GB" sz="400" dirty="0"/>
              <a:t> direct </a:t>
            </a:r>
            <a:r>
              <a:rPr lang="en-GB" sz="400" dirty="0" err="1"/>
              <a:t>worden</a:t>
            </a:r>
            <a:r>
              <a:rPr lang="en-GB" sz="400" dirty="0"/>
              <a:t> </a:t>
            </a:r>
            <a:r>
              <a:rPr lang="en-GB" sz="400" dirty="0" err="1"/>
              <a:t>gebruikt</a:t>
            </a:r>
            <a:r>
              <a:rPr lang="en-GB" sz="400" dirty="0"/>
              <a:t> </a:t>
            </a:r>
            <a:r>
              <a:rPr lang="en-GB" sz="400" dirty="0" err="1"/>
              <a:t>voor</a:t>
            </a:r>
            <a:r>
              <a:rPr lang="en-GB" sz="400" dirty="0"/>
              <a:t> de </a:t>
            </a:r>
            <a:r>
              <a:rPr lang="en-GB" sz="400" dirty="0" err="1"/>
              <a:t>volgende</a:t>
            </a:r>
            <a:r>
              <a:rPr lang="en-GB" sz="400" dirty="0"/>
              <a:t> </a:t>
            </a:r>
            <a:r>
              <a:rPr lang="en-GB" sz="400" dirty="0" err="1"/>
              <a:t>fase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Levert de </a:t>
            </a:r>
            <a:r>
              <a:rPr lang="en-GB" sz="400" dirty="0" err="1"/>
              <a:t>uitkomst</a:t>
            </a:r>
            <a:r>
              <a:rPr lang="en-GB" sz="400" dirty="0"/>
              <a:t> het </a:t>
            </a:r>
            <a:r>
              <a:rPr lang="en-GB" sz="400" dirty="0" err="1"/>
              <a:t>veranderdoel</a:t>
            </a:r>
            <a:r>
              <a:rPr lang="en-GB" sz="400" dirty="0"/>
              <a:t> op?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4A2B169-802B-09CD-7C22-CE3924180814}"/>
              </a:ext>
            </a:extLst>
          </p:cNvPr>
          <p:cNvSpPr txBox="1"/>
          <p:nvPr/>
        </p:nvSpPr>
        <p:spPr>
          <a:xfrm>
            <a:off x="5776177" y="4955148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Is er op </a:t>
            </a:r>
            <a:r>
              <a:rPr lang="en-GB" sz="400" dirty="0" err="1"/>
              <a:t>elke</a:t>
            </a:r>
            <a:r>
              <a:rPr lang="en-GB" sz="400" dirty="0"/>
              <a:t> </a:t>
            </a:r>
            <a:r>
              <a:rPr lang="en-GB" sz="400" dirty="0" err="1"/>
              <a:t>fase</a:t>
            </a:r>
            <a:r>
              <a:rPr lang="en-GB" sz="400" dirty="0"/>
              <a:t> van het </a:t>
            </a:r>
            <a:r>
              <a:rPr lang="en-GB" sz="400" dirty="0" err="1"/>
              <a:t>traject</a:t>
            </a:r>
            <a:r>
              <a:rPr lang="en-GB" sz="400" dirty="0"/>
              <a:t> </a:t>
            </a:r>
            <a:r>
              <a:rPr lang="en-GB" sz="400" dirty="0" err="1"/>
              <a:t>gereflecteerd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Zijn</a:t>
            </a:r>
            <a:r>
              <a:rPr lang="en-GB" sz="400" dirty="0"/>
              <a:t> de de </a:t>
            </a:r>
            <a:r>
              <a:rPr lang="en-GB" sz="400" dirty="0" err="1"/>
              <a:t>reflectieresultaten</a:t>
            </a:r>
            <a:r>
              <a:rPr lang="en-GB" sz="400" dirty="0"/>
              <a:t> </a:t>
            </a:r>
            <a:r>
              <a:rPr lang="en-GB" sz="400" dirty="0" err="1"/>
              <a:t>samengevat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Zijn</a:t>
            </a:r>
            <a:r>
              <a:rPr lang="en-GB" sz="400" dirty="0"/>
              <a:t> de </a:t>
            </a:r>
            <a:r>
              <a:rPr lang="en-GB" sz="400" dirty="0" err="1"/>
              <a:t>resultaten</a:t>
            </a:r>
            <a:r>
              <a:rPr lang="en-GB" sz="400" dirty="0"/>
              <a:t> </a:t>
            </a:r>
            <a:r>
              <a:rPr lang="en-GB" sz="400" dirty="0" err="1"/>
              <a:t>gedeeld</a:t>
            </a:r>
            <a:r>
              <a:rPr lang="en-GB" sz="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706263340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B2CE05E-E8A4-F0C3-9B3C-538C0BE556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06EDFC3E-3E5A-CCA1-854F-F14861DE0DF3}"/>
              </a:ext>
            </a:extLst>
          </p:cNvPr>
          <p:cNvGrpSpPr/>
          <p:nvPr/>
        </p:nvGrpSpPr>
        <p:grpSpPr>
          <a:xfrm>
            <a:off x="641238" y="662145"/>
            <a:ext cx="8623420" cy="5568699"/>
            <a:chOff x="5484698" y="494150"/>
            <a:chExt cx="2856673" cy="4083290"/>
          </a:xfrm>
        </p:grpSpPr>
        <p:sp>
          <p:nvSpPr>
            <p:cNvPr id="49" name="Round Same-side Corner of Rectangle 48">
              <a:extLst>
                <a:ext uri="{FF2B5EF4-FFF2-40B4-BE49-F238E27FC236}">
                  <a16:creationId xmlns:a16="http://schemas.microsoft.com/office/drawing/2014/main" id="{A2F7AD26-27B6-5536-BF22-9078B9EEC4BA}"/>
                </a:ext>
              </a:extLst>
            </p:cNvPr>
            <p:cNvSpPr/>
            <p:nvPr/>
          </p:nvSpPr>
          <p:spPr>
            <a:xfrm rot="10800000">
              <a:off x="5484698" y="494150"/>
              <a:ext cx="2856673" cy="4083290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E0F5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ound Same-side Corner of Rectangle 51">
              <a:extLst>
                <a:ext uri="{FF2B5EF4-FFF2-40B4-BE49-F238E27FC236}">
                  <a16:creationId xmlns:a16="http://schemas.microsoft.com/office/drawing/2014/main" id="{39EE849E-7132-566B-D62B-ED30E19CCCFE}"/>
                </a:ext>
              </a:extLst>
            </p:cNvPr>
            <p:cNvSpPr/>
            <p:nvPr/>
          </p:nvSpPr>
          <p:spPr>
            <a:xfrm rot="10800000">
              <a:off x="5678775" y="494150"/>
              <a:ext cx="2468520" cy="3528470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ound Same-side Corner of Rectangle 52">
              <a:extLst>
                <a:ext uri="{FF2B5EF4-FFF2-40B4-BE49-F238E27FC236}">
                  <a16:creationId xmlns:a16="http://schemas.microsoft.com/office/drawing/2014/main" id="{B7FEC21F-B3F1-E5D9-A621-F9A16A2F740A}"/>
                </a:ext>
              </a:extLst>
            </p:cNvPr>
            <p:cNvSpPr/>
            <p:nvPr/>
          </p:nvSpPr>
          <p:spPr>
            <a:xfrm rot="10800000">
              <a:off x="5808919" y="494150"/>
              <a:ext cx="2208231" cy="3086328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E0F5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ound Same-side Corner of Rectangle 53">
              <a:extLst>
                <a:ext uri="{FF2B5EF4-FFF2-40B4-BE49-F238E27FC236}">
                  <a16:creationId xmlns:a16="http://schemas.microsoft.com/office/drawing/2014/main" id="{5604C6F8-BBAF-218D-CDE6-82B696AD24E5}"/>
                </a:ext>
              </a:extLst>
            </p:cNvPr>
            <p:cNvSpPr/>
            <p:nvPr/>
          </p:nvSpPr>
          <p:spPr>
            <a:xfrm rot="10800000">
              <a:off x="5958941" y="494150"/>
              <a:ext cx="1908186" cy="2727536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ound Same-side Corner of Rectangle 54">
              <a:extLst>
                <a:ext uri="{FF2B5EF4-FFF2-40B4-BE49-F238E27FC236}">
                  <a16:creationId xmlns:a16="http://schemas.microsoft.com/office/drawing/2014/main" id="{FD5F41A7-A660-E3BF-137A-7AA560236AC7}"/>
                </a:ext>
              </a:extLst>
            </p:cNvPr>
            <p:cNvSpPr/>
            <p:nvPr/>
          </p:nvSpPr>
          <p:spPr>
            <a:xfrm rot="10800000">
              <a:off x="6097163" y="494150"/>
              <a:ext cx="1631742" cy="2397250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E0F5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ound Same-side Corner of Rectangle 55">
              <a:extLst>
                <a:ext uri="{FF2B5EF4-FFF2-40B4-BE49-F238E27FC236}">
                  <a16:creationId xmlns:a16="http://schemas.microsoft.com/office/drawing/2014/main" id="{89B09FA5-4AA9-2CE6-938A-637D558F8908}"/>
                </a:ext>
              </a:extLst>
            </p:cNvPr>
            <p:cNvSpPr/>
            <p:nvPr/>
          </p:nvSpPr>
          <p:spPr>
            <a:xfrm rot="10800000">
              <a:off x="6208020" y="494150"/>
              <a:ext cx="1410028" cy="2015476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Round Same-side Corner of Rectangle 56">
              <a:extLst>
                <a:ext uri="{FF2B5EF4-FFF2-40B4-BE49-F238E27FC236}">
                  <a16:creationId xmlns:a16="http://schemas.microsoft.com/office/drawing/2014/main" id="{653009AF-4CF5-03ED-518D-6F2848155E8D}"/>
                </a:ext>
              </a:extLst>
            </p:cNvPr>
            <p:cNvSpPr/>
            <p:nvPr/>
          </p:nvSpPr>
          <p:spPr>
            <a:xfrm rot="10800000">
              <a:off x="6376026" y="494150"/>
              <a:ext cx="1074017" cy="1693042"/>
            </a:xfrm>
            <a:prstGeom prst="round2SameRect">
              <a:avLst>
                <a:gd name="adj1" fmla="val 45567"/>
                <a:gd name="adj2" fmla="val 0"/>
              </a:avLst>
            </a:prstGeom>
            <a:solidFill>
              <a:srgbClr val="E0F5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E30156-8B56-B698-424A-D31B1F42F2C1}"/>
              </a:ext>
            </a:extLst>
          </p:cNvPr>
          <p:cNvGrpSpPr/>
          <p:nvPr/>
        </p:nvGrpSpPr>
        <p:grpSpPr>
          <a:xfrm>
            <a:off x="4501125" y="6413486"/>
            <a:ext cx="903757" cy="249879"/>
            <a:chOff x="4382565" y="4729735"/>
            <a:chExt cx="903757" cy="249879"/>
          </a:xfrm>
        </p:grpSpPr>
        <p:sp>
          <p:nvSpPr>
            <p:cNvPr id="4" name="Chevron 3">
              <a:extLst>
                <a:ext uri="{FF2B5EF4-FFF2-40B4-BE49-F238E27FC236}">
                  <a16:creationId xmlns:a16="http://schemas.microsoft.com/office/drawing/2014/main" id="{4271CA84-E7E6-80BE-25DC-0FCFDD60B8AE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B82C82F7-1F66-F261-3402-025ACDADBD40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690327-7D78-3279-5D6C-650DD8C1CD62}"/>
              </a:ext>
            </a:extLst>
          </p:cNvPr>
          <p:cNvGrpSpPr/>
          <p:nvPr/>
        </p:nvGrpSpPr>
        <p:grpSpPr>
          <a:xfrm rot="10800000">
            <a:off x="4501125" y="216158"/>
            <a:ext cx="903757" cy="249879"/>
            <a:chOff x="3930686" y="1974973"/>
            <a:chExt cx="903757" cy="249879"/>
          </a:xfrm>
        </p:grpSpPr>
        <p:sp>
          <p:nvSpPr>
            <p:cNvPr id="2" name="Chevron 1">
              <a:extLst>
                <a:ext uri="{FF2B5EF4-FFF2-40B4-BE49-F238E27FC236}">
                  <a16:creationId xmlns:a16="http://schemas.microsoft.com/office/drawing/2014/main" id="{285C3617-1941-F546-73A6-25BF034E3D6F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Chevron 4">
              <a:extLst>
                <a:ext uri="{FF2B5EF4-FFF2-40B4-BE49-F238E27FC236}">
                  <a16:creationId xmlns:a16="http://schemas.microsoft.com/office/drawing/2014/main" id="{4A68BCD8-39E0-6B6D-069B-F1FCEE30FE21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AD3E8BE-1F50-4E7D-409C-0B05A8DE19D0}"/>
              </a:ext>
            </a:extLst>
          </p:cNvPr>
          <p:cNvGrpSpPr/>
          <p:nvPr/>
        </p:nvGrpSpPr>
        <p:grpSpPr>
          <a:xfrm rot="16200000">
            <a:off x="9123887" y="3284505"/>
            <a:ext cx="903757" cy="249879"/>
            <a:chOff x="4382565" y="4729735"/>
            <a:chExt cx="903757" cy="249879"/>
          </a:xfrm>
          <a:solidFill>
            <a:schemeClr val="accent2">
              <a:lumMod val="75000"/>
            </a:schemeClr>
          </a:solidFill>
        </p:grpSpPr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C1B492D2-F185-1621-03CD-3ED7C94814AC}"/>
                </a:ext>
              </a:extLst>
            </p:cNvPr>
            <p:cNvSpPr/>
            <p:nvPr/>
          </p:nvSpPr>
          <p:spPr>
            <a:xfrm rot="5400000">
              <a:off x="4709504" y="4402796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Chevron 14">
              <a:extLst>
                <a:ext uri="{FF2B5EF4-FFF2-40B4-BE49-F238E27FC236}">
                  <a16:creationId xmlns:a16="http://schemas.microsoft.com/office/drawing/2014/main" id="{D8329208-3E41-B5A3-39E0-F62D16F99373}"/>
                </a:ext>
              </a:extLst>
            </p:cNvPr>
            <p:cNvSpPr/>
            <p:nvPr/>
          </p:nvSpPr>
          <p:spPr>
            <a:xfrm rot="16200000">
              <a:off x="4763629" y="4538107"/>
              <a:ext cx="146462" cy="529719"/>
            </a:xfrm>
            <a:prstGeom prst="chevron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0657AA6-2AEA-3D04-29A3-4B3C77F43855}"/>
              </a:ext>
            </a:extLst>
          </p:cNvPr>
          <p:cNvGrpSpPr/>
          <p:nvPr/>
        </p:nvGrpSpPr>
        <p:grpSpPr>
          <a:xfrm rot="5400000">
            <a:off x="-155562" y="3299229"/>
            <a:ext cx="903757" cy="249879"/>
            <a:chOff x="3930686" y="1974973"/>
            <a:chExt cx="903757" cy="249879"/>
          </a:xfrm>
        </p:grpSpPr>
        <p:sp>
          <p:nvSpPr>
            <p:cNvPr id="17" name="Chevron 16">
              <a:extLst>
                <a:ext uri="{FF2B5EF4-FFF2-40B4-BE49-F238E27FC236}">
                  <a16:creationId xmlns:a16="http://schemas.microsoft.com/office/drawing/2014/main" id="{1F1F1B4B-D9A1-337D-8241-28F588C7C8A4}"/>
                </a:ext>
              </a:extLst>
            </p:cNvPr>
            <p:cNvSpPr/>
            <p:nvPr/>
          </p:nvSpPr>
          <p:spPr>
            <a:xfrm rot="5400000">
              <a:off x="4257625" y="1648034"/>
              <a:ext cx="249879" cy="903757"/>
            </a:xfrm>
            <a:prstGeom prst="chevron">
              <a:avLst/>
            </a:prstGeom>
            <a:solidFill>
              <a:schemeClr val="accent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Chevron 17">
              <a:extLst>
                <a:ext uri="{FF2B5EF4-FFF2-40B4-BE49-F238E27FC236}">
                  <a16:creationId xmlns:a16="http://schemas.microsoft.com/office/drawing/2014/main" id="{C67342D7-2DC4-B964-E56F-1B99F70F40F4}"/>
                </a:ext>
              </a:extLst>
            </p:cNvPr>
            <p:cNvSpPr/>
            <p:nvPr/>
          </p:nvSpPr>
          <p:spPr>
            <a:xfrm rot="16200000">
              <a:off x="4311750" y="1783345"/>
              <a:ext cx="146462" cy="529719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40CD84EB-0280-8E7F-C4E2-11B279E71403}"/>
              </a:ext>
            </a:extLst>
          </p:cNvPr>
          <p:cNvSpPr txBox="1"/>
          <p:nvPr/>
        </p:nvSpPr>
        <p:spPr>
          <a:xfrm>
            <a:off x="1885935" y="216155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>
                <a:solidFill>
                  <a:schemeClr val="bg1"/>
                </a:solidFill>
              </a:rPr>
              <a:t>Voorbereid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F745B91-414E-E0F4-02BC-E933BA1092D8}"/>
              </a:ext>
            </a:extLst>
          </p:cNvPr>
          <p:cNvSpPr txBox="1"/>
          <p:nvPr/>
        </p:nvSpPr>
        <p:spPr>
          <a:xfrm>
            <a:off x="6622305" y="224619"/>
            <a:ext cx="1501928" cy="238363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>
            <a:defPPr marL="0" marR="0" indent="0" algn="l" defTabSz="1072647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112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Voortga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E0830D-4FA0-E865-98C4-66EC0DE1CE31}"/>
              </a:ext>
            </a:extLst>
          </p:cNvPr>
          <p:cNvSpPr txBox="1"/>
          <p:nvPr/>
        </p:nvSpPr>
        <p:spPr>
          <a:xfrm>
            <a:off x="3541583" y="64475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59225B-4F81-1465-EC55-ABF95DB05AA2}"/>
              </a:ext>
            </a:extLst>
          </p:cNvPr>
          <p:cNvSpPr txBox="1"/>
          <p:nvPr/>
        </p:nvSpPr>
        <p:spPr>
          <a:xfrm>
            <a:off x="5404882" y="6447562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Mogelijke verbindingen met subcategorieë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4B19153-CB4A-C7D2-CF99-3C5AE033ECC9}"/>
              </a:ext>
            </a:extLst>
          </p:cNvPr>
          <p:cNvSpPr txBox="1"/>
          <p:nvPr/>
        </p:nvSpPr>
        <p:spPr>
          <a:xfrm>
            <a:off x="3541583" y="250359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200" i="1" dirty="0" err="1">
                <a:solidFill>
                  <a:schemeClr val="bg1">
                    <a:lumMod val="50000"/>
                  </a:schemeClr>
                </a:solidFill>
              </a:rPr>
              <a:t>Pathway</a:t>
            </a:r>
            <a:endParaRPr lang="nl-NL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9BB7AEF-89C1-5E73-BC12-6F6CBC86A400}"/>
              </a:ext>
            </a:extLst>
          </p:cNvPr>
          <p:cNvSpPr txBox="1"/>
          <p:nvPr/>
        </p:nvSpPr>
        <p:spPr>
          <a:xfrm>
            <a:off x="5404882" y="250360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  verander-</a:t>
            </a:r>
            <a:r>
              <a:rPr lang="nl-NL" sz="600" i="1" dirty="0" err="1">
                <a:solidFill>
                  <a:schemeClr val="bg1">
                    <a:lumMod val="50000"/>
                  </a:schemeClr>
                </a:solidFill>
              </a:rPr>
              <a:t>pyramide</a:t>
            </a:r>
            <a:endParaRPr lang="nl-NL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D8D06FA-4154-E293-C7F9-720CD0108D6B}"/>
              </a:ext>
            </a:extLst>
          </p:cNvPr>
          <p:cNvSpPr txBox="1"/>
          <p:nvPr/>
        </p:nvSpPr>
        <p:spPr>
          <a:xfrm rot="16200000">
            <a:off x="9152386" y="2477761"/>
            <a:ext cx="9595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Verbinding met            volgende activitei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B552781-C2BB-60C1-EB86-FB2E88250583}"/>
              </a:ext>
            </a:extLst>
          </p:cNvPr>
          <p:cNvSpPr txBox="1"/>
          <p:nvPr/>
        </p:nvSpPr>
        <p:spPr>
          <a:xfrm rot="16200000">
            <a:off x="9002963" y="4197792"/>
            <a:ext cx="959541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600" i="1" dirty="0">
                <a:solidFill>
                  <a:schemeClr val="bg1">
                    <a:lumMod val="50000"/>
                  </a:schemeClr>
                </a:solidFill>
              </a:rPr>
              <a:t>Reflectie outpu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26BE75B-D07E-9F40-1E07-AE4D0D83CAC8}"/>
              </a:ext>
            </a:extLst>
          </p:cNvPr>
          <p:cNvGrpSpPr/>
          <p:nvPr/>
        </p:nvGrpSpPr>
        <p:grpSpPr>
          <a:xfrm rot="10800000">
            <a:off x="170800" y="2074432"/>
            <a:ext cx="287923" cy="2633403"/>
            <a:chOff x="-28520" y="1297827"/>
            <a:chExt cx="287923" cy="263340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65C01B1-4F3E-EF46-EAFD-84EB65EA7BC3}"/>
                </a:ext>
              </a:extLst>
            </p:cNvPr>
            <p:cNvSpPr txBox="1"/>
            <p:nvPr/>
          </p:nvSpPr>
          <p:spPr>
            <a:xfrm rot="16200000">
              <a:off x="-312701" y="1685265"/>
              <a:ext cx="95954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Verbinding met                 vorige activitei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EB04D12-4BC1-88DB-95F2-E9E8243486FB}"/>
                </a:ext>
              </a:extLst>
            </p:cNvPr>
            <p:cNvSpPr txBox="1"/>
            <p:nvPr/>
          </p:nvSpPr>
          <p:spPr>
            <a:xfrm rot="16200000">
              <a:off x="-462124" y="3405293"/>
              <a:ext cx="95954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nl-NL" sz="600" i="1" dirty="0">
                  <a:solidFill>
                    <a:schemeClr val="bg1">
                      <a:lumMod val="50000"/>
                    </a:schemeClr>
                  </a:solidFill>
                </a:rPr>
                <a:t>Reflectie input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B004722-0550-A258-041C-72773A8D6C26}"/>
              </a:ext>
            </a:extLst>
          </p:cNvPr>
          <p:cNvSpPr/>
          <p:nvPr/>
        </p:nvSpPr>
        <p:spPr>
          <a:xfrm>
            <a:off x="616352" y="2032846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2486D26-67B8-9F03-59CD-976DD32704CB}"/>
              </a:ext>
            </a:extLst>
          </p:cNvPr>
          <p:cNvSpPr/>
          <p:nvPr/>
        </p:nvSpPr>
        <p:spPr>
          <a:xfrm>
            <a:off x="616352" y="3433998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BE5B1F9-1733-460F-783E-4A19A2DA114F}"/>
              </a:ext>
            </a:extLst>
          </p:cNvPr>
          <p:cNvSpPr/>
          <p:nvPr/>
        </p:nvSpPr>
        <p:spPr>
          <a:xfrm>
            <a:off x="616352" y="483817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097AF3-9C65-F4A3-791D-3C67859AB47D}"/>
              </a:ext>
            </a:extLst>
          </p:cNvPr>
          <p:cNvSpPr/>
          <p:nvPr/>
        </p:nvSpPr>
        <p:spPr>
          <a:xfrm>
            <a:off x="616325" y="627155"/>
            <a:ext cx="8648333" cy="140417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A893142-E8AC-4C68-30CE-62AFEFCD2248}"/>
              </a:ext>
            </a:extLst>
          </p:cNvPr>
          <p:cNvSpPr/>
          <p:nvPr/>
        </p:nvSpPr>
        <p:spPr>
          <a:xfrm>
            <a:off x="616379" y="631692"/>
            <a:ext cx="8648333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EF6E937-31B9-F87D-7F7B-A326631DCB5F}"/>
              </a:ext>
            </a:extLst>
          </p:cNvPr>
          <p:cNvSpPr/>
          <p:nvPr/>
        </p:nvSpPr>
        <p:spPr>
          <a:xfrm>
            <a:off x="616366" y="3437017"/>
            <a:ext cx="8648333" cy="28083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55E9F1-F0F2-0D96-DA64-F09216266ED8}"/>
              </a:ext>
            </a:extLst>
          </p:cNvPr>
          <p:cNvSpPr/>
          <p:nvPr/>
        </p:nvSpPr>
        <p:spPr>
          <a:xfrm>
            <a:off x="616268" y="625642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2FA3240-2608-D7DC-A91A-ADB08EE49C2D}"/>
              </a:ext>
            </a:extLst>
          </p:cNvPr>
          <p:cNvSpPr/>
          <p:nvPr/>
        </p:nvSpPr>
        <p:spPr>
          <a:xfrm>
            <a:off x="5668775" y="634715"/>
            <a:ext cx="3595987" cy="56136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C92158F-97A3-5694-CD6D-6EA897340426}"/>
              </a:ext>
            </a:extLst>
          </p:cNvPr>
          <p:cNvSpPr txBox="1"/>
          <p:nvPr/>
        </p:nvSpPr>
        <p:spPr>
          <a:xfrm>
            <a:off x="4304831" y="867450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Verander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DC576C5-5626-DE6F-9A76-3A0A4A4CFE2B}"/>
              </a:ext>
            </a:extLst>
          </p:cNvPr>
          <p:cNvSpPr txBox="1"/>
          <p:nvPr/>
        </p:nvSpPr>
        <p:spPr>
          <a:xfrm>
            <a:off x="4310525" y="2272382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Activitei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18AC295-50F1-BFD0-AC5A-C1A7D9D1A50D}"/>
              </a:ext>
            </a:extLst>
          </p:cNvPr>
          <p:cNvSpPr txBox="1"/>
          <p:nvPr/>
        </p:nvSpPr>
        <p:spPr>
          <a:xfrm>
            <a:off x="4319600" y="366975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Uitkoms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F2F1623-6975-BA9E-CD33-E035A84EE9DE}"/>
              </a:ext>
            </a:extLst>
          </p:cNvPr>
          <p:cNvSpPr txBox="1"/>
          <p:nvPr/>
        </p:nvSpPr>
        <p:spPr>
          <a:xfrm>
            <a:off x="4299194" y="5087538"/>
            <a:ext cx="1271311" cy="2694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nl-NL" sz="1400" dirty="0"/>
              <a:t>Reflecti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4163CCB-B6E0-515A-2C54-8D27F89A8626}"/>
              </a:ext>
            </a:extLst>
          </p:cNvPr>
          <p:cNvSpPr txBox="1"/>
          <p:nvPr/>
        </p:nvSpPr>
        <p:spPr>
          <a:xfrm>
            <a:off x="716858" y="791083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Formuleer</a:t>
            </a:r>
            <a:r>
              <a:rPr lang="en-GB" sz="400" dirty="0"/>
              <a:t> de </a:t>
            </a:r>
            <a:r>
              <a:rPr lang="en-GB" sz="400" dirty="0" err="1"/>
              <a:t>gewenste</a:t>
            </a:r>
            <a:r>
              <a:rPr lang="en-GB" sz="400" dirty="0"/>
              <a:t> </a:t>
            </a:r>
            <a:r>
              <a:rPr lang="en-GB" sz="400" dirty="0" err="1"/>
              <a:t>veranderdoel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Koppel het </a:t>
            </a:r>
            <a:r>
              <a:rPr lang="en-GB" sz="400" dirty="0" err="1"/>
              <a:t>aan</a:t>
            </a:r>
            <a:r>
              <a:rPr lang="en-GB" sz="400" dirty="0"/>
              <a:t>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veranderdoelstelling</a:t>
            </a:r>
            <a:r>
              <a:rPr lang="en-GB" sz="400" dirty="0"/>
              <a:t> op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hoger</a:t>
            </a:r>
            <a:r>
              <a:rPr lang="en-GB" sz="400" dirty="0"/>
              <a:t> </a:t>
            </a:r>
            <a:r>
              <a:rPr lang="en-GB" sz="400" dirty="0" err="1"/>
              <a:t>niveau</a:t>
            </a:r>
            <a:endParaRPr lang="en-GB" sz="400" dirty="0"/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Identificeer</a:t>
            </a:r>
            <a:r>
              <a:rPr lang="en-GB" sz="400" dirty="0"/>
              <a:t> </a:t>
            </a:r>
            <a:r>
              <a:rPr lang="en-GB" sz="400" dirty="0" err="1"/>
              <a:t>aannames</a:t>
            </a:r>
            <a:r>
              <a:rPr lang="en-GB" sz="400" dirty="0"/>
              <a:t> </a:t>
            </a:r>
            <a:r>
              <a:rPr lang="en-GB" sz="400" dirty="0" err="1"/>
              <a:t>en</a:t>
            </a:r>
            <a:r>
              <a:rPr lang="en-GB" sz="400" dirty="0"/>
              <a:t> </a:t>
            </a:r>
            <a:r>
              <a:rPr lang="en-GB" sz="400" dirty="0" err="1"/>
              <a:t>definieer</a:t>
            </a:r>
            <a:r>
              <a:rPr lang="en-GB" sz="400" dirty="0"/>
              <a:t> de </a:t>
            </a:r>
            <a:r>
              <a:rPr lang="en-GB" sz="400" dirty="0" err="1"/>
              <a:t>belangrijkste</a:t>
            </a:r>
            <a:r>
              <a:rPr lang="en-GB" sz="400" dirty="0"/>
              <a:t> </a:t>
            </a:r>
            <a:r>
              <a:rPr lang="en-GB" sz="400" dirty="0" err="1"/>
              <a:t>resultaten</a:t>
            </a:r>
            <a:endParaRPr lang="en-GB" sz="400" dirty="0"/>
          </a:p>
        </p:txBody>
      </p:sp>
      <p:pic>
        <p:nvPicPr>
          <p:cNvPr id="58" name="postit.png" descr="postit.png">
            <a:extLst>
              <a:ext uri="{FF2B5EF4-FFF2-40B4-BE49-F238E27FC236}">
                <a16:creationId xmlns:a16="http://schemas.microsoft.com/office/drawing/2014/main" id="{362E1162-F485-0CF8-AB6A-08F58CA6D06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782485" y="1093089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postit.png" descr="postit.png">
            <a:extLst>
              <a:ext uri="{FF2B5EF4-FFF2-40B4-BE49-F238E27FC236}">
                <a16:creationId xmlns:a16="http://schemas.microsoft.com/office/drawing/2014/main" id="{97BC010C-70B2-A31B-E052-BCC2D033F66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1684707" y="1112242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postit.png" descr="postit.png">
            <a:extLst>
              <a:ext uri="{FF2B5EF4-FFF2-40B4-BE49-F238E27FC236}">
                <a16:creationId xmlns:a16="http://schemas.microsoft.com/office/drawing/2014/main" id="{A2C53267-CE52-64F1-EA11-C5B902A77C3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3312611" y="885841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39" name="postit.png" descr="postit.png">
            <a:extLst>
              <a:ext uri="{FF2B5EF4-FFF2-40B4-BE49-F238E27FC236}">
                <a16:creationId xmlns:a16="http://schemas.microsoft.com/office/drawing/2014/main" id="{50A83D36-CC75-88FB-2D24-594D00519DB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412967" y="737569"/>
            <a:ext cx="921668" cy="921668"/>
          </a:xfrm>
          <a:prstGeom prst="rect">
            <a:avLst/>
          </a:prstGeom>
          <a:ln w="12700">
            <a:miter lim="400000"/>
          </a:ln>
        </p:spPr>
      </p:pic>
      <p:pic>
        <p:nvPicPr>
          <p:cNvPr id="44" name="directions.png" descr="directions.png">
            <a:extLst>
              <a:ext uri="{FF2B5EF4-FFF2-40B4-BE49-F238E27FC236}">
                <a16:creationId xmlns:a16="http://schemas.microsoft.com/office/drawing/2014/main" id="{78467485-513E-50B9-7E74-0D481480FD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7584" y="119472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0" name="iot.png" descr="iot.png">
            <a:extLst>
              <a:ext uri="{FF2B5EF4-FFF2-40B4-BE49-F238E27FC236}">
                <a16:creationId xmlns:a16="http://schemas.microsoft.com/office/drawing/2014/main" id="{CE167832-A667-3BDA-D751-4FC31FED46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3598" y="540271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map.png" descr="map.png">
            <a:extLst>
              <a:ext uri="{FF2B5EF4-FFF2-40B4-BE49-F238E27FC236}">
                <a16:creationId xmlns:a16="http://schemas.microsoft.com/office/drawing/2014/main" id="{B15AA462-1047-009F-F7EC-4FEA721DC6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4717" y="394929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pencilcross.png" descr="pencilcross.png">
            <a:extLst>
              <a:ext uri="{FF2B5EF4-FFF2-40B4-BE49-F238E27FC236}">
                <a16:creationId xmlns:a16="http://schemas.microsoft.com/office/drawing/2014/main" id="{80CEA507-2F7B-E341-5FAB-B1B7FED309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8805" y="2600414"/>
            <a:ext cx="688389" cy="688389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599A2C15-5B9B-D851-E25E-1B290EBDB3E0}"/>
              </a:ext>
            </a:extLst>
          </p:cNvPr>
          <p:cNvSpPr txBox="1"/>
          <p:nvPr/>
        </p:nvSpPr>
        <p:spPr>
          <a:xfrm>
            <a:off x="716858" y="2173810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paal</a:t>
            </a:r>
            <a:r>
              <a:rPr lang="en-GB" sz="400" dirty="0"/>
              <a:t> wat er </a:t>
            </a:r>
            <a:r>
              <a:rPr lang="en-GB" sz="400" dirty="0" err="1"/>
              <a:t>nodig</a:t>
            </a:r>
            <a:r>
              <a:rPr lang="en-GB" sz="400" dirty="0"/>
              <a:t> is </a:t>
            </a:r>
            <a:r>
              <a:rPr lang="en-GB" sz="400" dirty="0" err="1"/>
              <a:t>voor</a:t>
            </a:r>
            <a:r>
              <a:rPr lang="en-GB" sz="400" dirty="0"/>
              <a:t> de </a:t>
            </a:r>
            <a:r>
              <a:rPr lang="en-GB" sz="400" dirty="0" err="1"/>
              <a:t>activiteit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Kies partners om </a:t>
            </a:r>
            <a:r>
              <a:rPr lang="en-GB" sz="400" dirty="0" err="1"/>
              <a:t>te</a:t>
            </a:r>
            <a:r>
              <a:rPr lang="en-GB" sz="400" dirty="0"/>
              <a:t> </a:t>
            </a:r>
            <a:r>
              <a:rPr lang="en-GB" sz="400" dirty="0" err="1"/>
              <a:t>betrekken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Maak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realistische</a:t>
            </a:r>
            <a:r>
              <a:rPr lang="en-GB" sz="400" dirty="0"/>
              <a:t> planning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42B43C7-C6B3-80AF-6EC7-A5AEFF9DF26F}"/>
              </a:ext>
            </a:extLst>
          </p:cNvPr>
          <p:cNvSpPr txBox="1"/>
          <p:nvPr/>
        </p:nvSpPr>
        <p:spPr>
          <a:xfrm>
            <a:off x="716858" y="3585522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slis</a:t>
            </a:r>
            <a:r>
              <a:rPr lang="en-GB" sz="400" dirty="0"/>
              <a:t> hoe je </a:t>
            </a:r>
            <a:r>
              <a:rPr lang="en-GB" sz="400" dirty="0" err="1"/>
              <a:t>uitkomstgegevens</a:t>
            </a:r>
            <a:r>
              <a:rPr lang="en-GB" sz="400" dirty="0"/>
              <a:t> </a:t>
            </a:r>
            <a:r>
              <a:rPr lang="en-GB" sz="400" dirty="0" err="1"/>
              <a:t>verzamelt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reid</a:t>
            </a:r>
            <a:r>
              <a:rPr lang="en-GB" sz="400" dirty="0"/>
              <a:t> het </a:t>
            </a:r>
            <a:r>
              <a:rPr lang="en-GB" sz="400" dirty="0" err="1"/>
              <a:t>verzamelen</a:t>
            </a:r>
            <a:r>
              <a:rPr lang="en-GB" sz="400" dirty="0"/>
              <a:t> van </a:t>
            </a:r>
            <a:r>
              <a:rPr lang="en-GB" sz="400" dirty="0" err="1"/>
              <a:t>gegevens</a:t>
            </a:r>
            <a:r>
              <a:rPr lang="en-GB" sz="400" dirty="0"/>
              <a:t> </a:t>
            </a:r>
            <a:r>
              <a:rPr lang="en-GB" sz="400" dirty="0" err="1"/>
              <a:t>voor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spreek</a:t>
            </a:r>
            <a:r>
              <a:rPr lang="en-GB" sz="400" dirty="0"/>
              <a:t> </a:t>
            </a:r>
            <a:r>
              <a:rPr lang="en-GB" sz="400" dirty="0" err="1"/>
              <a:t>mogelijke</a:t>
            </a:r>
            <a:r>
              <a:rPr lang="en-GB" sz="400" dirty="0"/>
              <a:t> </a:t>
            </a:r>
            <a:r>
              <a:rPr lang="en-GB" sz="400" dirty="0" err="1"/>
              <a:t>uitkomsten</a:t>
            </a:r>
            <a:r>
              <a:rPr lang="en-GB" sz="400" dirty="0"/>
              <a:t> van </a:t>
            </a:r>
            <a:r>
              <a:rPr lang="en-GB" sz="400" dirty="0" err="1"/>
              <a:t>tevoren</a:t>
            </a:r>
            <a:r>
              <a:rPr lang="en-GB" sz="400" dirty="0"/>
              <a:t>.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9B40459-C1CF-C8AF-8A4B-3D81CFA4087E}"/>
              </a:ext>
            </a:extLst>
          </p:cNvPr>
          <p:cNvSpPr txBox="1"/>
          <p:nvPr/>
        </p:nvSpPr>
        <p:spPr>
          <a:xfrm>
            <a:off x="716858" y="4968249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slis</a:t>
            </a:r>
            <a:r>
              <a:rPr lang="en-GB" sz="400" dirty="0"/>
              <a:t> </a:t>
            </a:r>
            <a:r>
              <a:rPr lang="en-GB" sz="400" dirty="0" err="1"/>
              <a:t>wie</a:t>
            </a:r>
            <a:r>
              <a:rPr lang="en-GB" sz="400" dirty="0"/>
              <a:t> </a:t>
            </a:r>
            <a:r>
              <a:rPr lang="en-GB" sz="400" dirty="0" err="1"/>
              <a:t>en</a:t>
            </a:r>
            <a:r>
              <a:rPr lang="en-GB" sz="400" dirty="0"/>
              <a:t> </a:t>
            </a:r>
            <a:r>
              <a:rPr lang="en-GB" sz="400" dirty="0" err="1"/>
              <a:t>wanneer</a:t>
            </a:r>
            <a:r>
              <a:rPr lang="en-GB" sz="400" dirty="0"/>
              <a:t> </a:t>
            </a:r>
            <a:r>
              <a:rPr lang="en-GB" sz="400" dirty="0" err="1"/>
              <a:t>te</a:t>
            </a:r>
            <a:r>
              <a:rPr lang="en-GB" sz="400" dirty="0"/>
              <a:t> </a:t>
            </a:r>
            <a:r>
              <a:rPr lang="en-GB" sz="400" dirty="0" err="1"/>
              <a:t>raadplegen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Kies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methode</a:t>
            </a:r>
            <a:r>
              <a:rPr lang="en-GB" sz="400" dirty="0"/>
              <a:t> </a:t>
            </a:r>
            <a:r>
              <a:rPr lang="en-GB" sz="400" dirty="0" err="1"/>
              <a:t>voor</a:t>
            </a:r>
            <a:r>
              <a:rPr lang="en-GB" sz="400" dirty="0"/>
              <a:t> </a:t>
            </a:r>
            <a:r>
              <a:rPr lang="en-GB" sz="400" dirty="0" err="1"/>
              <a:t>reflectie</a:t>
            </a:r>
            <a:r>
              <a:rPr lang="en-GB" sz="400" dirty="0"/>
              <a:t>.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Bereid</a:t>
            </a:r>
            <a:r>
              <a:rPr lang="en-GB" sz="400" dirty="0"/>
              <a:t> het </a:t>
            </a:r>
            <a:r>
              <a:rPr lang="en-GB" sz="400" dirty="0" err="1"/>
              <a:t>documenteren</a:t>
            </a:r>
            <a:r>
              <a:rPr lang="en-GB" sz="400" dirty="0"/>
              <a:t> van de </a:t>
            </a:r>
            <a:r>
              <a:rPr lang="en-GB" sz="400" dirty="0" err="1"/>
              <a:t>reflectieresultaten</a:t>
            </a:r>
            <a:r>
              <a:rPr lang="en-GB" sz="400" dirty="0"/>
              <a:t> </a:t>
            </a:r>
            <a:r>
              <a:rPr lang="en-GB" sz="400" dirty="0" err="1"/>
              <a:t>voor</a:t>
            </a:r>
            <a:r>
              <a:rPr lang="en-GB" sz="400" dirty="0"/>
              <a:t>.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A869F79-2190-C275-800A-B5D615CD93FE}"/>
              </a:ext>
            </a:extLst>
          </p:cNvPr>
          <p:cNvSpPr txBox="1"/>
          <p:nvPr/>
        </p:nvSpPr>
        <p:spPr>
          <a:xfrm>
            <a:off x="5776177" y="777982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Was het </a:t>
            </a:r>
            <a:r>
              <a:rPr lang="en-GB" sz="400" dirty="0" err="1"/>
              <a:t>veranderdoel</a:t>
            </a:r>
            <a:r>
              <a:rPr lang="en-GB" sz="400" dirty="0"/>
              <a:t> </a:t>
            </a:r>
            <a:r>
              <a:rPr lang="en-GB" sz="400" dirty="0" err="1"/>
              <a:t>goed</a:t>
            </a:r>
            <a:r>
              <a:rPr lang="en-GB" sz="400" dirty="0"/>
              <a:t> </a:t>
            </a:r>
            <a:r>
              <a:rPr lang="en-GB" sz="400" dirty="0" err="1"/>
              <a:t>geformuleerd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Zijn</a:t>
            </a:r>
            <a:r>
              <a:rPr lang="en-GB" sz="400" dirty="0"/>
              <a:t> je </a:t>
            </a:r>
            <a:r>
              <a:rPr lang="en-GB" sz="400" dirty="0" err="1"/>
              <a:t>veronderstellingen</a:t>
            </a:r>
            <a:r>
              <a:rPr lang="en-GB" sz="400" dirty="0"/>
              <a:t> </a:t>
            </a:r>
            <a:r>
              <a:rPr lang="en-GB" sz="400" dirty="0" err="1"/>
              <a:t>uitgekomen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Heeft</a:t>
            </a:r>
            <a:r>
              <a:rPr lang="en-GB" sz="400" dirty="0"/>
              <a:t> de </a:t>
            </a:r>
            <a:r>
              <a:rPr lang="en-GB" sz="400" dirty="0" err="1"/>
              <a:t>uitkomst</a:t>
            </a:r>
            <a:r>
              <a:rPr lang="en-GB" sz="400" dirty="0"/>
              <a:t> de </a:t>
            </a:r>
            <a:r>
              <a:rPr lang="en-GB" sz="400" dirty="0" err="1"/>
              <a:t>belangrijkste</a:t>
            </a:r>
            <a:r>
              <a:rPr lang="en-GB" sz="400" dirty="0"/>
              <a:t> </a:t>
            </a:r>
            <a:r>
              <a:rPr lang="en-GB" sz="400" dirty="0" err="1"/>
              <a:t>resultaten</a:t>
            </a:r>
            <a:r>
              <a:rPr lang="en-GB" sz="400" dirty="0"/>
              <a:t> </a:t>
            </a:r>
            <a:r>
              <a:rPr lang="en-GB" sz="400" dirty="0" err="1"/>
              <a:t>opgeleverd</a:t>
            </a:r>
            <a:r>
              <a:rPr lang="en-GB" sz="400" dirty="0"/>
              <a:t>?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5443F73-8B82-7A3B-2BC2-A8B13062EDBC}"/>
              </a:ext>
            </a:extLst>
          </p:cNvPr>
          <p:cNvSpPr txBox="1"/>
          <p:nvPr/>
        </p:nvSpPr>
        <p:spPr>
          <a:xfrm>
            <a:off x="5776177" y="2160709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Werden er </a:t>
            </a:r>
            <a:r>
              <a:rPr lang="en-GB" sz="400" dirty="0" err="1"/>
              <a:t>wijzigingen</a:t>
            </a:r>
            <a:r>
              <a:rPr lang="en-GB" sz="400" dirty="0"/>
              <a:t> </a:t>
            </a:r>
            <a:r>
              <a:rPr lang="en-GB" sz="400" dirty="0" err="1"/>
              <a:t>aangebracht</a:t>
            </a:r>
            <a:r>
              <a:rPr lang="en-GB" sz="400" dirty="0"/>
              <a:t> in de </a:t>
            </a:r>
            <a:r>
              <a:rPr lang="en-GB" sz="400" dirty="0" err="1"/>
              <a:t>activiteit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Heeft</a:t>
            </a:r>
            <a:r>
              <a:rPr lang="en-GB" sz="400" dirty="0"/>
              <a:t> </a:t>
            </a:r>
            <a:r>
              <a:rPr lang="en-GB" sz="400" dirty="0" err="1"/>
              <a:t>iedereen</a:t>
            </a:r>
            <a:r>
              <a:rPr lang="en-GB" sz="400" dirty="0"/>
              <a:t> / Wie </a:t>
            </a:r>
            <a:r>
              <a:rPr lang="en-GB" sz="400" dirty="0" err="1"/>
              <a:t>heeft</a:t>
            </a:r>
            <a:r>
              <a:rPr lang="en-GB" sz="400" dirty="0"/>
              <a:t> </a:t>
            </a:r>
            <a:r>
              <a:rPr lang="en-GB" sz="400" dirty="0" err="1"/>
              <a:t>meegedaan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Werd</a:t>
            </a:r>
            <a:r>
              <a:rPr lang="en-GB" sz="400" dirty="0"/>
              <a:t> </a:t>
            </a:r>
            <a:r>
              <a:rPr lang="en-GB" sz="400" dirty="0" err="1"/>
              <a:t>een</a:t>
            </a:r>
            <a:r>
              <a:rPr lang="en-GB" sz="400" dirty="0"/>
              <a:t> </a:t>
            </a:r>
            <a:r>
              <a:rPr lang="en-GB" sz="400" dirty="0" err="1"/>
              <a:t>alternatief</a:t>
            </a:r>
            <a:r>
              <a:rPr lang="en-GB" sz="400" dirty="0"/>
              <a:t> </a:t>
            </a:r>
            <a:r>
              <a:rPr lang="en-GB" sz="400" dirty="0" err="1"/>
              <a:t>duidelijk</a:t>
            </a:r>
            <a:r>
              <a:rPr lang="en-GB" sz="400" dirty="0"/>
              <a:t>?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2B0DBA8-27E1-C113-2281-F0C726F7DAA0}"/>
              </a:ext>
            </a:extLst>
          </p:cNvPr>
          <p:cNvSpPr txBox="1"/>
          <p:nvPr/>
        </p:nvSpPr>
        <p:spPr>
          <a:xfrm>
            <a:off x="5776177" y="3572421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Is de </a:t>
            </a:r>
            <a:r>
              <a:rPr lang="en-GB" sz="400" dirty="0" err="1"/>
              <a:t>uitkomst</a:t>
            </a:r>
            <a:r>
              <a:rPr lang="en-GB" sz="400" dirty="0"/>
              <a:t> in </a:t>
            </a:r>
            <a:r>
              <a:rPr lang="en-GB" sz="400" dirty="0" err="1"/>
              <a:t>lijn</a:t>
            </a:r>
            <a:r>
              <a:rPr lang="en-GB" sz="400" dirty="0"/>
              <a:t> met de </a:t>
            </a:r>
            <a:r>
              <a:rPr lang="en-GB" sz="400" dirty="0" err="1"/>
              <a:t>verwachtingen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Kan de </a:t>
            </a:r>
            <a:r>
              <a:rPr lang="en-GB" sz="400" dirty="0" err="1"/>
              <a:t>uitkomst</a:t>
            </a:r>
            <a:r>
              <a:rPr lang="en-GB" sz="400" dirty="0"/>
              <a:t> direct </a:t>
            </a:r>
            <a:r>
              <a:rPr lang="en-GB" sz="400" dirty="0" err="1"/>
              <a:t>worden</a:t>
            </a:r>
            <a:r>
              <a:rPr lang="en-GB" sz="400" dirty="0"/>
              <a:t> </a:t>
            </a:r>
            <a:r>
              <a:rPr lang="en-GB" sz="400" dirty="0" err="1"/>
              <a:t>gebruikt</a:t>
            </a:r>
            <a:r>
              <a:rPr lang="en-GB" sz="400" dirty="0"/>
              <a:t> </a:t>
            </a:r>
            <a:r>
              <a:rPr lang="en-GB" sz="400" dirty="0" err="1"/>
              <a:t>voor</a:t>
            </a:r>
            <a:r>
              <a:rPr lang="en-GB" sz="400" dirty="0"/>
              <a:t> de </a:t>
            </a:r>
            <a:r>
              <a:rPr lang="en-GB" sz="400" dirty="0" err="1"/>
              <a:t>volgende</a:t>
            </a:r>
            <a:r>
              <a:rPr lang="en-GB" sz="400" dirty="0"/>
              <a:t> </a:t>
            </a:r>
            <a:r>
              <a:rPr lang="en-GB" sz="400" dirty="0" err="1"/>
              <a:t>fase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Levert de </a:t>
            </a:r>
            <a:r>
              <a:rPr lang="en-GB" sz="400" dirty="0" err="1"/>
              <a:t>uitkomst</a:t>
            </a:r>
            <a:r>
              <a:rPr lang="en-GB" sz="400" dirty="0"/>
              <a:t> het </a:t>
            </a:r>
            <a:r>
              <a:rPr lang="en-GB" sz="400" dirty="0" err="1"/>
              <a:t>veranderdoel</a:t>
            </a:r>
            <a:r>
              <a:rPr lang="en-GB" sz="400" dirty="0"/>
              <a:t> op?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34879B4-E8F1-AAEA-36CD-704A77AC9EF4}"/>
              </a:ext>
            </a:extLst>
          </p:cNvPr>
          <p:cNvSpPr txBox="1"/>
          <p:nvPr/>
        </p:nvSpPr>
        <p:spPr>
          <a:xfrm>
            <a:off x="5776177" y="4955148"/>
            <a:ext cx="1831495" cy="312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/>
              <a:t>Is er op </a:t>
            </a:r>
            <a:r>
              <a:rPr lang="en-GB" sz="400" dirty="0" err="1"/>
              <a:t>elke</a:t>
            </a:r>
            <a:r>
              <a:rPr lang="en-GB" sz="400" dirty="0"/>
              <a:t> </a:t>
            </a:r>
            <a:r>
              <a:rPr lang="en-GB" sz="400" dirty="0" err="1"/>
              <a:t>fase</a:t>
            </a:r>
            <a:r>
              <a:rPr lang="en-GB" sz="400" dirty="0"/>
              <a:t> van het </a:t>
            </a:r>
            <a:r>
              <a:rPr lang="en-GB" sz="400" dirty="0" err="1"/>
              <a:t>traject</a:t>
            </a:r>
            <a:r>
              <a:rPr lang="en-GB" sz="400" dirty="0"/>
              <a:t> </a:t>
            </a:r>
            <a:r>
              <a:rPr lang="en-GB" sz="400" dirty="0" err="1"/>
              <a:t>gereflecteerd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Zijn</a:t>
            </a:r>
            <a:r>
              <a:rPr lang="en-GB" sz="400" dirty="0"/>
              <a:t> de de </a:t>
            </a:r>
            <a:r>
              <a:rPr lang="en-GB" sz="400" dirty="0" err="1"/>
              <a:t>reflectieresultaten</a:t>
            </a:r>
            <a:r>
              <a:rPr lang="en-GB" sz="400" dirty="0"/>
              <a:t> </a:t>
            </a:r>
            <a:r>
              <a:rPr lang="en-GB" sz="400" dirty="0" err="1"/>
              <a:t>samengevat</a:t>
            </a:r>
            <a:r>
              <a:rPr lang="en-GB" sz="400" dirty="0"/>
              <a:t>?</a:t>
            </a:r>
          </a:p>
          <a:p>
            <a:pPr marL="133350" indent="-133350">
              <a:spcBef>
                <a:spcPts val="456"/>
              </a:spcBef>
              <a:buFont typeface="+mj-lt"/>
              <a:buAutoNum type="arabicPeriod"/>
            </a:pPr>
            <a:r>
              <a:rPr lang="en-GB" sz="400" dirty="0" err="1"/>
              <a:t>Zijn</a:t>
            </a:r>
            <a:r>
              <a:rPr lang="en-GB" sz="400" dirty="0"/>
              <a:t> de </a:t>
            </a:r>
            <a:r>
              <a:rPr lang="en-GB" sz="400" dirty="0" err="1"/>
              <a:t>resultaten</a:t>
            </a:r>
            <a:r>
              <a:rPr lang="en-GB" sz="400" dirty="0"/>
              <a:t> </a:t>
            </a:r>
            <a:r>
              <a:rPr lang="en-GB" sz="400" dirty="0" err="1"/>
              <a:t>gedeeld</a:t>
            </a:r>
            <a:r>
              <a:rPr lang="en-GB" sz="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57221474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itel 80">
            <a:extLst>
              <a:ext uri="{FF2B5EF4-FFF2-40B4-BE49-F238E27FC236}">
                <a16:creationId xmlns:a16="http://schemas.microsoft.com/office/drawing/2014/main" id="{23287557-4D03-4A58-B4EB-E461C52484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nip/plak deze iconen in je ontwerp</a:t>
            </a:r>
          </a:p>
        </p:txBody>
      </p:sp>
      <p:pic>
        <p:nvPicPr>
          <p:cNvPr id="82" name="alert.png" descr="alert.png">
            <a:extLst>
              <a:ext uri="{FF2B5EF4-FFF2-40B4-BE49-F238E27FC236}">
                <a16:creationId xmlns:a16="http://schemas.microsoft.com/office/drawing/2014/main" id="{F7C4F2CB-5436-4F12-BC49-D3802F8B85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675" y="1635647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83" name="award.png" descr="award.png">
            <a:extLst>
              <a:ext uri="{FF2B5EF4-FFF2-40B4-BE49-F238E27FC236}">
                <a16:creationId xmlns:a16="http://schemas.microsoft.com/office/drawing/2014/main" id="{28D06A26-45FB-46C5-970D-20DE830E0B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2446" y="5205560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84" name="battery.png" descr="battery.png">
            <a:extLst>
              <a:ext uri="{FF2B5EF4-FFF2-40B4-BE49-F238E27FC236}">
                <a16:creationId xmlns:a16="http://schemas.microsoft.com/office/drawing/2014/main" id="{B1727EA7-6890-488C-A219-6CC8880048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63960" y="410211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85" name="bike.png" descr="bike.png">
            <a:extLst>
              <a:ext uri="{FF2B5EF4-FFF2-40B4-BE49-F238E27FC236}">
                <a16:creationId xmlns:a16="http://schemas.microsoft.com/office/drawing/2014/main" id="{8B456471-EC74-4D47-A987-8C70F3841D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4764" y="5312365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86" name="boy.png" descr="boy.png">
            <a:extLst>
              <a:ext uri="{FF2B5EF4-FFF2-40B4-BE49-F238E27FC236}">
                <a16:creationId xmlns:a16="http://schemas.microsoft.com/office/drawing/2014/main" id="{9D5CE35E-8F07-4497-A0E2-3CB2B70022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8574" y="3569204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87" name="bulb.png" descr="bulb.png">
            <a:extLst>
              <a:ext uri="{FF2B5EF4-FFF2-40B4-BE49-F238E27FC236}">
                <a16:creationId xmlns:a16="http://schemas.microsoft.com/office/drawing/2014/main" id="{89D10C09-904C-4E3C-AC79-EBA5B62AA2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77195" y="4348235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88" name="c.png" descr="c.png">
            <a:extLst>
              <a:ext uri="{FF2B5EF4-FFF2-40B4-BE49-F238E27FC236}">
                <a16:creationId xmlns:a16="http://schemas.microsoft.com/office/drawing/2014/main" id="{B9DB2342-F187-4205-8C67-43E231B4AE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5855" y="3723016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89" name="cat.png" descr="cat.png">
            <a:extLst>
              <a:ext uri="{FF2B5EF4-FFF2-40B4-BE49-F238E27FC236}">
                <a16:creationId xmlns:a16="http://schemas.microsoft.com/office/drawing/2014/main" id="{D8E98061-97E4-41EB-B32F-13EBE1E56F0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41928" y="2243498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0" name="cctv.png" descr="cctv.png">
            <a:extLst>
              <a:ext uri="{FF2B5EF4-FFF2-40B4-BE49-F238E27FC236}">
                <a16:creationId xmlns:a16="http://schemas.microsoft.com/office/drawing/2014/main" id="{6EAA0840-D208-4D84-B740-4B9A967AC08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4157" y="520556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chat.png" descr="chat.png">
            <a:extLst>
              <a:ext uri="{FF2B5EF4-FFF2-40B4-BE49-F238E27FC236}">
                <a16:creationId xmlns:a16="http://schemas.microsoft.com/office/drawing/2014/main" id="{6584FC8F-638E-48A2-8E6A-2AE13C17DC8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90552" y="5255865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2" name="click.png" descr="click.png">
            <a:extLst>
              <a:ext uri="{FF2B5EF4-FFF2-40B4-BE49-F238E27FC236}">
                <a16:creationId xmlns:a16="http://schemas.microsoft.com/office/drawing/2014/main" id="{EA4083D7-CB98-47D8-8637-D2554B9179C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35128" y="360849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3" name="cloud.png" descr="cloud.png">
            <a:extLst>
              <a:ext uri="{FF2B5EF4-FFF2-40B4-BE49-F238E27FC236}">
                <a16:creationId xmlns:a16="http://schemas.microsoft.com/office/drawing/2014/main" id="{F56DDB3E-AA1E-420C-A506-C02CAC48375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19308" y="359506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4" name="cocktail.png" descr="cocktail.png">
            <a:extLst>
              <a:ext uri="{FF2B5EF4-FFF2-40B4-BE49-F238E27FC236}">
                <a16:creationId xmlns:a16="http://schemas.microsoft.com/office/drawing/2014/main" id="{323F0553-DA43-4C16-BF06-AE57D5321AD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96511" y="520556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5" name="coffee.png" descr="coffee.png">
            <a:extLst>
              <a:ext uri="{FF2B5EF4-FFF2-40B4-BE49-F238E27FC236}">
                <a16:creationId xmlns:a16="http://schemas.microsoft.com/office/drawing/2014/main" id="{493E496E-6A14-465E-82B4-BD977D0CCAD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176197" y="362515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6" name="command.png" descr="command.png">
            <a:extLst>
              <a:ext uri="{FF2B5EF4-FFF2-40B4-BE49-F238E27FC236}">
                <a16:creationId xmlns:a16="http://schemas.microsoft.com/office/drawing/2014/main" id="{532D5DEE-1AEF-42EA-A0EB-4FEEF599F2D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804445" y="3480804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7" name="creditcard.png" descr="creditcard.png">
            <a:extLst>
              <a:ext uri="{FF2B5EF4-FFF2-40B4-BE49-F238E27FC236}">
                <a16:creationId xmlns:a16="http://schemas.microsoft.com/office/drawing/2014/main" id="{6677F709-EE52-4014-ABE6-D9181316390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616061" y="4464557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8" name="cthulhu.png" descr="cthulhu.png">
            <a:extLst>
              <a:ext uri="{FF2B5EF4-FFF2-40B4-BE49-F238E27FC236}">
                <a16:creationId xmlns:a16="http://schemas.microsoft.com/office/drawing/2014/main" id="{0284173A-D7A6-4BD9-998B-ADB2012F777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12197" y="2971452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9" name="d.png" descr="d.png">
            <a:extLst>
              <a:ext uri="{FF2B5EF4-FFF2-40B4-BE49-F238E27FC236}">
                <a16:creationId xmlns:a16="http://schemas.microsoft.com/office/drawing/2014/main" id="{E715ACF6-783A-4781-82F7-6B4A9A087CE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553269" y="360849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0" name="directions.png" descr="directions.png">
            <a:extLst>
              <a:ext uri="{FF2B5EF4-FFF2-40B4-BE49-F238E27FC236}">
                <a16:creationId xmlns:a16="http://schemas.microsoft.com/office/drawing/2014/main" id="{24E619B2-6EBD-4176-80AD-49788A8C010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123062" y="1623017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1" name="energy.png" descr="energy.png">
            <a:extLst>
              <a:ext uri="{FF2B5EF4-FFF2-40B4-BE49-F238E27FC236}">
                <a16:creationId xmlns:a16="http://schemas.microsoft.com/office/drawing/2014/main" id="{CEA26DCE-07C8-41AD-B459-5D78A36EB62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933291" y="2996418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2" name="enter.png" descr="enter.png">
            <a:extLst>
              <a:ext uri="{FF2B5EF4-FFF2-40B4-BE49-F238E27FC236}">
                <a16:creationId xmlns:a16="http://schemas.microsoft.com/office/drawing/2014/main" id="{CD52B5DC-2C42-4A52-AD49-32BB87D4900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83961" y="226982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3" name="fingerprint.png" descr="fingerprint.png">
            <a:extLst>
              <a:ext uri="{FF2B5EF4-FFF2-40B4-BE49-F238E27FC236}">
                <a16:creationId xmlns:a16="http://schemas.microsoft.com/office/drawing/2014/main" id="{941CCF23-C838-4F75-BE4A-32110A8F37B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737255" y="2922027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4" name="fire.png" descr="fire.png">
            <a:extLst>
              <a:ext uri="{FF2B5EF4-FFF2-40B4-BE49-F238E27FC236}">
                <a16:creationId xmlns:a16="http://schemas.microsoft.com/office/drawing/2014/main" id="{7941052F-78C2-40E3-B3AF-E728302E745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981238" y="452175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5" name="flag.png" descr="flag.png">
            <a:extLst>
              <a:ext uri="{FF2B5EF4-FFF2-40B4-BE49-F238E27FC236}">
                <a16:creationId xmlns:a16="http://schemas.microsoft.com/office/drawing/2014/main" id="{8B1C04E1-92F6-4101-8F46-D11D29F1AA2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195038" y="231134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6" name="genderneutral.png" descr="genderneutral.png">
            <a:extLst>
              <a:ext uri="{FF2B5EF4-FFF2-40B4-BE49-F238E27FC236}">
                <a16:creationId xmlns:a16="http://schemas.microsoft.com/office/drawing/2014/main" id="{0F280848-3593-41D8-B948-719C6C6FA981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388643" y="4324098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7" name="girl.png" descr="girl.png">
            <a:extLst>
              <a:ext uri="{FF2B5EF4-FFF2-40B4-BE49-F238E27FC236}">
                <a16:creationId xmlns:a16="http://schemas.microsoft.com/office/drawing/2014/main" id="{5288943B-9CB0-420E-A1F9-468D15E1D18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816358" y="441623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8" name="glasssphere.png" descr="glasssphere.png">
            <a:extLst>
              <a:ext uri="{FF2B5EF4-FFF2-40B4-BE49-F238E27FC236}">
                <a16:creationId xmlns:a16="http://schemas.microsoft.com/office/drawing/2014/main" id="{DB45849A-18C8-4B2A-A725-FA39F0D82BA3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039835" y="520556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9" name="globe.png" descr="globe.png">
            <a:extLst>
              <a:ext uri="{FF2B5EF4-FFF2-40B4-BE49-F238E27FC236}">
                <a16:creationId xmlns:a16="http://schemas.microsoft.com/office/drawing/2014/main" id="{7E4D9051-CD11-488F-917A-BFD88EB084A2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550743" y="4411942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0" name="guitar.png" descr="guitar.png">
            <a:extLst>
              <a:ext uri="{FF2B5EF4-FFF2-40B4-BE49-F238E27FC236}">
                <a16:creationId xmlns:a16="http://schemas.microsoft.com/office/drawing/2014/main" id="{67C64E74-3E17-44B4-A326-783AC7A886E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321160" y="1661714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1" name="h1.png" descr="h1.png">
            <a:extLst>
              <a:ext uri="{FF2B5EF4-FFF2-40B4-BE49-F238E27FC236}">
                <a16:creationId xmlns:a16="http://schemas.microsoft.com/office/drawing/2014/main" id="{AE1B20A7-109B-45D2-8431-BF77D31C0B07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574464" y="296692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2" name="hamburger.png" descr="hamburger.png">
            <a:extLst>
              <a:ext uri="{FF2B5EF4-FFF2-40B4-BE49-F238E27FC236}">
                <a16:creationId xmlns:a16="http://schemas.microsoft.com/office/drawing/2014/main" id="{08966788-F29E-46A7-96F9-B23F12FD9204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862356" y="5255865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3" name="headphones.png" descr="headphones.png">
            <a:extLst>
              <a:ext uri="{FF2B5EF4-FFF2-40B4-BE49-F238E27FC236}">
                <a16:creationId xmlns:a16="http://schemas.microsoft.com/office/drawing/2014/main" id="{3894BD1F-6C09-4475-8DFB-1C5DC2D0846F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816358" y="369158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4" name="hipster.png" descr="hipster.png">
            <a:extLst>
              <a:ext uri="{FF2B5EF4-FFF2-40B4-BE49-F238E27FC236}">
                <a16:creationId xmlns:a16="http://schemas.microsoft.com/office/drawing/2014/main" id="{108C7A5F-3828-4C04-A690-2B7D1F2B820C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3129382" y="5161494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5" name="horns.png" descr="horns.png">
            <a:extLst>
              <a:ext uri="{FF2B5EF4-FFF2-40B4-BE49-F238E27FC236}">
                <a16:creationId xmlns:a16="http://schemas.microsoft.com/office/drawing/2014/main" id="{6836AACA-E946-4CC8-B95C-42D07CF27C37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229422" y="4464557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6" name="house.png" descr="house.png">
            <a:extLst>
              <a:ext uri="{FF2B5EF4-FFF2-40B4-BE49-F238E27FC236}">
                <a16:creationId xmlns:a16="http://schemas.microsoft.com/office/drawing/2014/main" id="{91E3AFC5-95B4-41EA-A65A-623906EC5550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2774753" y="427214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7" name="iot.png" descr="iot.png">
            <a:extLst>
              <a:ext uri="{FF2B5EF4-FFF2-40B4-BE49-F238E27FC236}">
                <a16:creationId xmlns:a16="http://schemas.microsoft.com/office/drawing/2014/main" id="{8F2300AD-0520-4042-BFDF-2DA688DCCE02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10352" y="4338995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8" name="laptop.png" descr="laptop.png">
            <a:extLst>
              <a:ext uri="{FF2B5EF4-FFF2-40B4-BE49-F238E27FC236}">
                <a16:creationId xmlns:a16="http://schemas.microsoft.com/office/drawing/2014/main" id="{2721256B-9D4E-4F92-BAC9-65D2823780F3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6922290" y="2902068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9" name="loading.png" descr="loading.png">
            <a:extLst>
              <a:ext uri="{FF2B5EF4-FFF2-40B4-BE49-F238E27FC236}">
                <a16:creationId xmlns:a16="http://schemas.microsoft.com/office/drawing/2014/main" id="{F0EC89D0-F101-4B9D-87A6-EDC5BA60D8E8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2833757" y="2243498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0" name="m.png" descr="m.png">
            <a:extLst>
              <a:ext uri="{FF2B5EF4-FFF2-40B4-BE49-F238E27FC236}">
                <a16:creationId xmlns:a16="http://schemas.microsoft.com/office/drawing/2014/main" id="{226EC00A-B321-4F23-AED0-9E8767484C6F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3472973" y="226982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1" name="map.png" descr="map.png">
            <a:extLst>
              <a:ext uri="{FF2B5EF4-FFF2-40B4-BE49-F238E27FC236}">
                <a16:creationId xmlns:a16="http://schemas.microsoft.com/office/drawing/2014/main" id="{676DBD32-7F2D-4C05-B1B3-8B2FC3A5736B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7935626" y="4696453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2" name="marker.png" descr="marker.png">
            <a:extLst>
              <a:ext uri="{FF2B5EF4-FFF2-40B4-BE49-F238E27FC236}">
                <a16:creationId xmlns:a16="http://schemas.microsoft.com/office/drawing/2014/main" id="{B4074E95-949A-44F6-9CEF-ACFFF0BB9830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5119115" y="441425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3" name="mic.png" descr="mic.png">
            <a:extLst>
              <a:ext uri="{FF2B5EF4-FFF2-40B4-BE49-F238E27FC236}">
                <a16:creationId xmlns:a16="http://schemas.microsoft.com/office/drawing/2014/main" id="{C23B66CA-13FB-41C9-81D6-390ED85EAC2C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5334157" y="2916915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4" name="nature.png" descr="nature.png">
            <a:extLst>
              <a:ext uri="{FF2B5EF4-FFF2-40B4-BE49-F238E27FC236}">
                <a16:creationId xmlns:a16="http://schemas.microsoft.com/office/drawing/2014/main" id="{EA74F987-1235-41DD-B7DF-02A640431FBF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389668" y="3601328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5" name="notebook.png" descr="notebook.png">
            <a:extLst>
              <a:ext uri="{FF2B5EF4-FFF2-40B4-BE49-F238E27FC236}">
                <a16:creationId xmlns:a16="http://schemas.microsoft.com/office/drawing/2014/main" id="{46A6FA3C-80F3-4E1F-9863-EA4EABC41E1F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631969" y="3610791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6" name="paint.png" descr="paint.png">
            <a:extLst>
              <a:ext uri="{FF2B5EF4-FFF2-40B4-BE49-F238E27FC236}">
                <a16:creationId xmlns:a16="http://schemas.microsoft.com/office/drawing/2014/main" id="{3C967275-C62E-4FDE-B105-565EBCC7B08D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740569" y="5198915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7" name="party.png" descr="party.png">
            <a:extLst>
              <a:ext uri="{FF2B5EF4-FFF2-40B4-BE49-F238E27FC236}">
                <a16:creationId xmlns:a16="http://schemas.microsoft.com/office/drawing/2014/main" id="{FE40A272-4021-49F5-9FA3-3C3B97CC1D3B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5076960" y="3693292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8" name="pencilcross.png" descr="pencilcross.png">
            <a:extLst>
              <a:ext uri="{FF2B5EF4-FFF2-40B4-BE49-F238E27FC236}">
                <a16:creationId xmlns:a16="http://schemas.microsoft.com/office/drawing/2014/main" id="{0AF619A9-AEBE-494B-946B-30AD6692DD34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727675" y="2922027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29" name="pentool.png" descr="pentool.png">
            <a:extLst>
              <a:ext uri="{FF2B5EF4-FFF2-40B4-BE49-F238E27FC236}">
                <a16:creationId xmlns:a16="http://schemas.microsoft.com/office/drawing/2014/main" id="{EDD8518A-B835-46ED-B1AB-1A795521266C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6039835" y="296692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0" name="phone.png" descr="phone.png">
            <a:extLst>
              <a:ext uri="{FF2B5EF4-FFF2-40B4-BE49-F238E27FC236}">
                <a16:creationId xmlns:a16="http://schemas.microsoft.com/office/drawing/2014/main" id="{5FF20F6F-2CC5-4D79-A9F3-1F5BA9CDEED8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4721701" y="226982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1" name="pin.png" descr="pin.png">
            <a:extLst>
              <a:ext uri="{FF2B5EF4-FFF2-40B4-BE49-F238E27FC236}">
                <a16:creationId xmlns:a16="http://schemas.microsoft.com/office/drawing/2014/main" id="{68158CC5-805A-49FB-B92D-5B37F7891E3D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1412944" y="231134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2" name="pizaa.png" descr="pizaa.png">
            <a:extLst>
              <a:ext uri="{FF2B5EF4-FFF2-40B4-BE49-F238E27FC236}">
                <a16:creationId xmlns:a16="http://schemas.microsoft.com/office/drawing/2014/main" id="{B2AE2934-AF2D-4B55-A5A2-ECF1C84D4F86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1370991" y="474663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3" name="plug.png" descr="plug.png">
            <a:extLst>
              <a:ext uri="{FF2B5EF4-FFF2-40B4-BE49-F238E27FC236}">
                <a16:creationId xmlns:a16="http://schemas.microsoft.com/office/drawing/2014/main" id="{087A9A62-2F0E-4987-9978-66E0A91D7A21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2421654" y="3032965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4" name="postit.png" descr="postit.png">
            <a:extLst>
              <a:ext uri="{FF2B5EF4-FFF2-40B4-BE49-F238E27FC236}">
                <a16:creationId xmlns:a16="http://schemas.microsoft.com/office/drawing/2014/main" id="{5B8A5E8C-CBDF-4442-A3ED-B88017F6A0A1}"/>
              </a:ext>
            </a:extLst>
          </p:cNvPr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1695265" y="427214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5" name="privacy.png" descr="privacy.png">
            <a:extLst>
              <a:ext uri="{FF2B5EF4-FFF2-40B4-BE49-F238E27FC236}">
                <a16:creationId xmlns:a16="http://schemas.microsoft.com/office/drawing/2014/main" id="{BC4238CD-7088-468A-9CDC-7D1A12DC5282}"/>
              </a:ext>
            </a:extLst>
          </p:cNvPr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5312883" y="225298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6" name="recycling.png" descr="recycling.png">
            <a:extLst>
              <a:ext uri="{FF2B5EF4-FFF2-40B4-BE49-F238E27FC236}">
                <a16:creationId xmlns:a16="http://schemas.microsoft.com/office/drawing/2014/main" id="{DDBB3832-05B2-4E63-9032-C3EBCEF70B66}"/>
              </a:ext>
            </a:extLst>
          </p:cNvPr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7077195" y="226982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7" name="robot.png" descr="robot.png">
            <a:extLst>
              <a:ext uri="{FF2B5EF4-FFF2-40B4-BE49-F238E27FC236}">
                <a16:creationId xmlns:a16="http://schemas.microsoft.com/office/drawing/2014/main" id="{8D13107A-7AF5-4FCB-BF74-78176D3B3079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4123062" y="2269821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8" name="rocket.png" descr="rocket.png">
            <a:extLst>
              <a:ext uri="{FF2B5EF4-FFF2-40B4-BE49-F238E27FC236}">
                <a16:creationId xmlns:a16="http://schemas.microsoft.com/office/drawing/2014/main" id="{B1C3A925-3C12-43D4-8C54-033D6F8B1B40}"/>
              </a:ext>
            </a:extLst>
          </p:cNvPr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7792007" y="160617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9" name="search.png" descr="search.png">
            <a:extLst>
              <a:ext uri="{FF2B5EF4-FFF2-40B4-BE49-F238E27FC236}">
                <a16:creationId xmlns:a16="http://schemas.microsoft.com/office/drawing/2014/main" id="{0B957CF2-B4A2-47F8-B3C9-44C7232BBA0E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7129335" y="1631437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0" name="sleeping.png" descr="sleeping.png">
            <a:extLst>
              <a:ext uri="{FF2B5EF4-FFF2-40B4-BE49-F238E27FC236}">
                <a16:creationId xmlns:a16="http://schemas.microsoft.com/office/drawing/2014/main" id="{5AA4AAB5-8F8A-4BD1-9EE9-292EBF9A5F77}"/>
              </a:ext>
            </a:extLst>
          </p:cNvPr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7827657" y="219990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1" name="tape.png" descr="tape.png">
            <a:extLst>
              <a:ext uri="{FF2B5EF4-FFF2-40B4-BE49-F238E27FC236}">
                <a16:creationId xmlns:a16="http://schemas.microsoft.com/office/drawing/2014/main" id="{8CEDBE3E-ACEC-464E-BF99-926DC1FFB34C}"/>
              </a:ext>
            </a:extLst>
          </p:cNvPr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>
            <a:off x="2095998" y="156485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2" name="toggle.png" descr="toggle.png">
            <a:extLst>
              <a:ext uri="{FF2B5EF4-FFF2-40B4-BE49-F238E27FC236}">
                <a16:creationId xmlns:a16="http://schemas.microsoft.com/office/drawing/2014/main" id="{0E6B1E9E-00CC-4492-BB44-A5986C1BE68E}"/>
              </a:ext>
            </a:extLst>
          </p:cNvPr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2857550" y="1503915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3" name="trash.png" descr="trash.png">
            <a:extLst>
              <a:ext uri="{FF2B5EF4-FFF2-40B4-BE49-F238E27FC236}">
                <a16:creationId xmlns:a16="http://schemas.microsoft.com/office/drawing/2014/main" id="{B1D3C6FF-5D43-41AF-A202-4737F0453431}"/>
              </a:ext>
            </a:extLst>
          </p:cNvPr>
          <p:cNvPicPr>
            <a:picLocks noChangeAspect="1"/>
          </p:cNvPicPr>
          <p:nvPr/>
        </p:nvPicPr>
        <p:blipFill>
          <a:blip r:embed="rId63"/>
          <a:stretch>
            <a:fillRect/>
          </a:stretch>
        </p:blipFill>
        <p:spPr>
          <a:xfrm>
            <a:off x="3496429" y="161880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4" name="unicorn.png" descr="unicorn.png">
            <a:extLst>
              <a:ext uri="{FF2B5EF4-FFF2-40B4-BE49-F238E27FC236}">
                <a16:creationId xmlns:a16="http://schemas.microsoft.com/office/drawing/2014/main" id="{7356628E-1880-450F-A2E3-4B7A63892446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4940125" y="1606179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5" name="video.png" descr="video.png">
            <a:extLst>
              <a:ext uri="{FF2B5EF4-FFF2-40B4-BE49-F238E27FC236}">
                <a16:creationId xmlns:a16="http://schemas.microsoft.com/office/drawing/2014/main" id="{06C50CDB-7C0F-4C7F-AB62-8EA98291251B}"/>
              </a:ext>
            </a:extLst>
          </p:cNvPr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7822032" y="5289540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6" name="vr.png" descr="vr.png">
            <a:extLst>
              <a:ext uri="{FF2B5EF4-FFF2-40B4-BE49-F238E27FC236}">
                <a16:creationId xmlns:a16="http://schemas.microsoft.com/office/drawing/2014/main" id="{15B3A0F2-DFEC-4B15-84FE-35860851CB27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5687102" y="1589048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7" name="watch.png" descr="watch.png">
            <a:extLst>
              <a:ext uri="{FF2B5EF4-FFF2-40B4-BE49-F238E27FC236}">
                <a16:creationId xmlns:a16="http://schemas.microsoft.com/office/drawing/2014/main" id="{01270AC6-62CF-4FE1-A75E-0C3018B3BCF0}"/>
              </a:ext>
            </a:extLst>
          </p:cNvPr>
          <p:cNvPicPr>
            <a:picLocks noChangeAspect="1"/>
          </p:cNvPicPr>
          <p:nvPr/>
        </p:nvPicPr>
        <p:blipFill>
          <a:blip r:embed="rId67"/>
          <a:stretch>
            <a:fillRect/>
          </a:stretch>
        </p:blipFill>
        <p:spPr>
          <a:xfrm>
            <a:off x="6326733" y="1653294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8" name="wifi.png" descr="wifi.png">
            <a:extLst>
              <a:ext uri="{FF2B5EF4-FFF2-40B4-BE49-F238E27FC236}">
                <a16:creationId xmlns:a16="http://schemas.microsoft.com/office/drawing/2014/main" id="{2880844F-D0F8-426B-81EB-86A8144C7314}"/>
              </a:ext>
            </a:extLst>
          </p:cNvPr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7822032" y="2809626"/>
            <a:ext cx="688389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9" name="windmill.png" descr="windmill.png">
            <a:extLst>
              <a:ext uri="{FF2B5EF4-FFF2-40B4-BE49-F238E27FC236}">
                <a16:creationId xmlns:a16="http://schemas.microsoft.com/office/drawing/2014/main" id="{FFD99368-178F-463E-9780-619545A9B2A0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7279669" y="5161494"/>
            <a:ext cx="687782" cy="688389"/>
          </a:xfrm>
          <a:prstGeom prst="rect">
            <a:avLst/>
          </a:prstGeom>
          <a:ln w="12700">
            <a:miter lim="400000"/>
          </a:ln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691D1D40-E16B-4425-A86C-9B102059EE6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8856921" y="1705930"/>
            <a:ext cx="362093" cy="367193"/>
          </a:xfrm>
          <a:prstGeom prst="rect">
            <a:avLst/>
          </a:prstGeom>
        </p:spPr>
      </p:pic>
      <p:sp>
        <p:nvSpPr>
          <p:cNvPr id="72" name="Tijdelijke aanduiding voor tekst 47">
            <a:extLst>
              <a:ext uri="{FF2B5EF4-FFF2-40B4-BE49-F238E27FC236}">
                <a16:creationId xmlns:a16="http://schemas.microsoft.com/office/drawing/2014/main" id="{79ADF394-65E5-4B5A-A7AC-DA7F8A44B52B}"/>
              </a:ext>
            </a:extLst>
          </p:cNvPr>
          <p:cNvSpPr txBox="1">
            <a:spLocks noChangeAspect="1"/>
          </p:cNvSpPr>
          <p:nvPr/>
        </p:nvSpPr>
        <p:spPr>
          <a:xfrm>
            <a:off x="8899767" y="2158844"/>
            <a:ext cx="319247" cy="319247"/>
          </a:xfrm>
          <a:prstGeom prst="rect">
            <a:avLst/>
          </a:prstGeom>
          <a:blipFill>
            <a:blip r:embed="rId71"/>
            <a:stretch>
              <a:fillRect/>
            </a:stretch>
          </a:blipFill>
        </p:spPr>
        <p:txBody>
          <a:bodyPr/>
          <a:lstStyle>
            <a:lvl1pPr marL="269875" indent="-269875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1463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1688" indent="-26035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71463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9875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490887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244EF284-5E74-8F73-316E-6CD8089B07F6}"/>
              </a:ext>
            </a:extLst>
          </p:cNvPr>
          <p:cNvGrpSpPr/>
          <p:nvPr/>
        </p:nvGrpSpPr>
        <p:grpSpPr>
          <a:xfrm>
            <a:off x="537187" y="1115805"/>
            <a:ext cx="8322435" cy="4523521"/>
            <a:chOff x="156183" y="258552"/>
            <a:chExt cx="8322435" cy="4523521"/>
          </a:xfrm>
        </p:grpSpPr>
        <p:sp>
          <p:nvSpPr>
            <p:cNvPr id="3" name="Chevron 2">
              <a:extLst>
                <a:ext uri="{FF2B5EF4-FFF2-40B4-BE49-F238E27FC236}">
                  <a16:creationId xmlns:a16="http://schemas.microsoft.com/office/drawing/2014/main" id="{34610979-71FE-1CF9-7D0D-38EA9AFC7A46}"/>
                </a:ext>
              </a:extLst>
            </p:cNvPr>
            <p:cNvSpPr/>
            <p:nvPr/>
          </p:nvSpPr>
          <p:spPr>
            <a:xfrm>
              <a:off x="156183" y="258553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Chevron 5">
              <a:extLst>
                <a:ext uri="{FF2B5EF4-FFF2-40B4-BE49-F238E27FC236}">
                  <a16:creationId xmlns:a16="http://schemas.microsoft.com/office/drawing/2014/main" id="{9DC5868A-F147-4F8D-F44D-BB231CF8829F}"/>
                </a:ext>
              </a:extLst>
            </p:cNvPr>
            <p:cNvSpPr/>
            <p:nvPr/>
          </p:nvSpPr>
          <p:spPr>
            <a:xfrm>
              <a:off x="1311270" y="258553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Chevron 6">
              <a:extLst>
                <a:ext uri="{FF2B5EF4-FFF2-40B4-BE49-F238E27FC236}">
                  <a16:creationId xmlns:a16="http://schemas.microsoft.com/office/drawing/2014/main" id="{42280472-BD05-49BB-1305-ACC5CEE74B0D}"/>
                </a:ext>
              </a:extLst>
            </p:cNvPr>
            <p:cNvSpPr/>
            <p:nvPr/>
          </p:nvSpPr>
          <p:spPr>
            <a:xfrm>
              <a:off x="2466357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Chevron 7">
              <a:extLst>
                <a:ext uri="{FF2B5EF4-FFF2-40B4-BE49-F238E27FC236}">
                  <a16:creationId xmlns:a16="http://schemas.microsoft.com/office/drawing/2014/main" id="{E92648CB-17CC-4B45-5B08-31A6EF16552A}"/>
                </a:ext>
              </a:extLst>
            </p:cNvPr>
            <p:cNvSpPr/>
            <p:nvPr/>
          </p:nvSpPr>
          <p:spPr>
            <a:xfrm>
              <a:off x="3616609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Chevron 8">
              <a:extLst>
                <a:ext uri="{FF2B5EF4-FFF2-40B4-BE49-F238E27FC236}">
                  <a16:creationId xmlns:a16="http://schemas.microsoft.com/office/drawing/2014/main" id="{3B19652E-C78C-9FE0-825E-15C0E7E6A16A}"/>
                </a:ext>
              </a:extLst>
            </p:cNvPr>
            <p:cNvSpPr/>
            <p:nvPr/>
          </p:nvSpPr>
          <p:spPr>
            <a:xfrm>
              <a:off x="4771696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E9E11CA9-2390-557C-1763-4D14BFA830FE}"/>
                </a:ext>
              </a:extLst>
            </p:cNvPr>
            <p:cNvSpPr/>
            <p:nvPr/>
          </p:nvSpPr>
          <p:spPr>
            <a:xfrm>
              <a:off x="5921948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Chevron 11">
              <a:extLst>
                <a:ext uri="{FF2B5EF4-FFF2-40B4-BE49-F238E27FC236}">
                  <a16:creationId xmlns:a16="http://schemas.microsoft.com/office/drawing/2014/main" id="{C25D323C-AE11-B6EE-CCD4-78904C9F1F4F}"/>
                </a:ext>
              </a:extLst>
            </p:cNvPr>
            <p:cNvSpPr/>
            <p:nvPr/>
          </p:nvSpPr>
          <p:spPr>
            <a:xfrm>
              <a:off x="7077035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7226091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C6B3FF3-FAAC-BD1F-D366-48BD30104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 Same-side Corner of Rectangle 16">
            <a:extLst>
              <a:ext uri="{FF2B5EF4-FFF2-40B4-BE49-F238E27FC236}">
                <a16:creationId xmlns:a16="http://schemas.microsoft.com/office/drawing/2014/main" id="{BE87D3B3-D8FB-F8E6-2C64-ED9FED27F40B}"/>
              </a:ext>
            </a:extLst>
          </p:cNvPr>
          <p:cNvSpPr/>
          <p:nvPr/>
        </p:nvSpPr>
        <p:spPr>
          <a:xfrm rot="10800000">
            <a:off x="6190770" y="503339"/>
            <a:ext cx="1456875" cy="2082438"/>
          </a:xfrm>
          <a:prstGeom prst="round2SameRect">
            <a:avLst>
              <a:gd name="adj1" fmla="val 45567"/>
              <a:gd name="adj2" fmla="val 0"/>
            </a:avLst>
          </a:prstGeom>
          <a:solidFill>
            <a:srgbClr val="DCD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18" name="Delay 17">
            <a:extLst>
              <a:ext uri="{FF2B5EF4-FFF2-40B4-BE49-F238E27FC236}">
                <a16:creationId xmlns:a16="http://schemas.microsoft.com/office/drawing/2014/main" id="{06DF35F7-73BF-8EF0-CECB-C06935962825}"/>
              </a:ext>
            </a:extLst>
          </p:cNvPr>
          <p:cNvSpPr/>
          <p:nvPr/>
        </p:nvSpPr>
        <p:spPr>
          <a:xfrm rot="5400000">
            <a:off x="1176534" y="754027"/>
            <a:ext cx="2182573" cy="1306864"/>
          </a:xfrm>
          <a:prstGeom prst="flowChartDelay">
            <a:avLst/>
          </a:prstGeom>
          <a:solidFill>
            <a:srgbClr val="DCD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15" name="Round Same-side Corner of Rectangle 14">
            <a:extLst>
              <a:ext uri="{FF2B5EF4-FFF2-40B4-BE49-F238E27FC236}">
                <a16:creationId xmlns:a16="http://schemas.microsoft.com/office/drawing/2014/main" id="{F7DE9B60-AFC3-9599-223F-FE18CCE74493}"/>
              </a:ext>
            </a:extLst>
          </p:cNvPr>
          <p:cNvSpPr/>
          <p:nvPr/>
        </p:nvSpPr>
        <p:spPr>
          <a:xfrm rot="10800000">
            <a:off x="6333432" y="495018"/>
            <a:ext cx="1166088" cy="1666791"/>
          </a:xfrm>
          <a:prstGeom prst="round2SameRect">
            <a:avLst>
              <a:gd name="adj1" fmla="val 45567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16" name="Delay 15">
            <a:extLst>
              <a:ext uri="{FF2B5EF4-FFF2-40B4-BE49-F238E27FC236}">
                <a16:creationId xmlns:a16="http://schemas.microsoft.com/office/drawing/2014/main" id="{1A53B2CB-C81A-7640-E59E-D4B0E433C101}"/>
              </a:ext>
            </a:extLst>
          </p:cNvPr>
          <p:cNvSpPr/>
          <p:nvPr/>
        </p:nvSpPr>
        <p:spPr>
          <a:xfrm rot="5400000">
            <a:off x="1406590" y="658313"/>
            <a:ext cx="1746940" cy="1046019"/>
          </a:xfrm>
          <a:prstGeom prst="flowChartDelay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C86C178-97EC-A58D-080F-CB3DB96D9A50}"/>
              </a:ext>
            </a:extLst>
          </p:cNvPr>
          <p:cNvGrpSpPr/>
          <p:nvPr/>
        </p:nvGrpSpPr>
        <p:grpSpPr>
          <a:xfrm>
            <a:off x="537187" y="1115805"/>
            <a:ext cx="8322435" cy="4523521"/>
            <a:chOff x="156183" y="258552"/>
            <a:chExt cx="8322435" cy="4523521"/>
          </a:xfrm>
        </p:grpSpPr>
        <p:sp>
          <p:nvSpPr>
            <p:cNvPr id="3" name="Chevron 2">
              <a:extLst>
                <a:ext uri="{FF2B5EF4-FFF2-40B4-BE49-F238E27FC236}">
                  <a16:creationId xmlns:a16="http://schemas.microsoft.com/office/drawing/2014/main" id="{B098A2DB-B904-121A-FC4B-CEAB4240529A}"/>
                </a:ext>
              </a:extLst>
            </p:cNvPr>
            <p:cNvSpPr/>
            <p:nvPr/>
          </p:nvSpPr>
          <p:spPr>
            <a:xfrm>
              <a:off x="156183" y="258553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Chevron 5">
              <a:extLst>
                <a:ext uri="{FF2B5EF4-FFF2-40B4-BE49-F238E27FC236}">
                  <a16:creationId xmlns:a16="http://schemas.microsoft.com/office/drawing/2014/main" id="{F02A5893-B06A-DB6E-D031-ABEF1973559B}"/>
                </a:ext>
              </a:extLst>
            </p:cNvPr>
            <p:cNvSpPr/>
            <p:nvPr/>
          </p:nvSpPr>
          <p:spPr>
            <a:xfrm>
              <a:off x="1311270" y="258553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Chevron 6">
              <a:extLst>
                <a:ext uri="{FF2B5EF4-FFF2-40B4-BE49-F238E27FC236}">
                  <a16:creationId xmlns:a16="http://schemas.microsoft.com/office/drawing/2014/main" id="{B2DB986F-EB48-B48A-DE6E-81FFE2369EB2}"/>
                </a:ext>
              </a:extLst>
            </p:cNvPr>
            <p:cNvSpPr/>
            <p:nvPr/>
          </p:nvSpPr>
          <p:spPr>
            <a:xfrm>
              <a:off x="2466357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Chevron 7">
              <a:extLst>
                <a:ext uri="{FF2B5EF4-FFF2-40B4-BE49-F238E27FC236}">
                  <a16:creationId xmlns:a16="http://schemas.microsoft.com/office/drawing/2014/main" id="{48E97E13-1DA5-83C6-DEF2-43A70BBD7ECF}"/>
                </a:ext>
              </a:extLst>
            </p:cNvPr>
            <p:cNvSpPr/>
            <p:nvPr/>
          </p:nvSpPr>
          <p:spPr>
            <a:xfrm>
              <a:off x="3616609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Chevron 8">
              <a:extLst>
                <a:ext uri="{FF2B5EF4-FFF2-40B4-BE49-F238E27FC236}">
                  <a16:creationId xmlns:a16="http://schemas.microsoft.com/office/drawing/2014/main" id="{804EC7AF-DBD0-6827-5432-D67D47532AFB}"/>
                </a:ext>
              </a:extLst>
            </p:cNvPr>
            <p:cNvSpPr/>
            <p:nvPr/>
          </p:nvSpPr>
          <p:spPr>
            <a:xfrm>
              <a:off x="4771696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8594A24E-DEF2-51D9-044C-7B46BC8D06F9}"/>
                </a:ext>
              </a:extLst>
            </p:cNvPr>
            <p:cNvSpPr/>
            <p:nvPr/>
          </p:nvSpPr>
          <p:spPr>
            <a:xfrm>
              <a:off x="5921948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Chevron 11">
              <a:extLst>
                <a:ext uri="{FF2B5EF4-FFF2-40B4-BE49-F238E27FC236}">
                  <a16:creationId xmlns:a16="http://schemas.microsoft.com/office/drawing/2014/main" id="{5E764677-CCDB-773B-51BF-E5F8B5A6B83E}"/>
                </a:ext>
              </a:extLst>
            </p:cNvPr>
            <p:cNvSpPr/>
            <p:nvPr/>
          </p:nvSpPr>
          <p:spPr>
            <a:xfrm>
              <a:off x="7077035" y="258552"/>
              <a:ext cx="1401583" cy="4523520"/>
            </a:xfrm>
            <a:prstGeom prst="chevron">
              <a:avLst/>
            </a:prstGeom>
            <a:solidFill>
              <a:srgbClr val="DCD0DC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nl-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A619B8EE-CC03-CE09-2AD5-A759067798B2}"/>
              </a:ext>
            </a:extLst>
          </p:cNvPr>
          <p:cNvSpPr/>
          <p:nvPr/>
        </p:nvSpPr>
        <p:spPr>
          <a:xfrm rot="10800000">
            <a:off x="6384022" y="503339"/>
            <a:ext cx="1074017" cy="1535186"/>
          </a:xfrm>
          <a:prstGeom prst="round2SameRect">
            <a:avLst>
              <a:gd name="adj1" fmla="val 45567"/>
              <a:gd name="adj2" fmla="val 0"/>
            </a:avLst>
          </a:prstGeom>
          <a:solidFill>
            <a:srgbClr val="DCD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14" name="Delay 13">
            <a:extLst>
              <a:ext uri="{FF2B5EF4-FFF2-40B4-BE49-F238E27FC236}">
                <a16:creationId xmlns:a16="http://schemas.microsoft.com/office/drawing/2014/main" id="{D3EC7292-E8FF-ED0D-CD8F-ACBB7292FDAF}"/>
              </a:ext>
            </a:extLst>
          </p:cNvPr>
          <p:cNvSpPr/>
          <p:nvPr/>
        </p:nvSpPr>
        <p:spPr>
          <a:xfrm rot="5400000">
            <a:off x="1484851" y="638962"/>
            <a:ext cx="1609006" cy="963428"/>
          </a:xfrm>
          <a:prstGeom prst="flowChartDelay">
            <a:avLst/>
          </a:prstGeom>
          <a:solidFill>
            <a:srgbClr val="DCD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13648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vA CMD">
  <a:themeElements>
    <a:clrScheme name="HvA CM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021"/>
      </a:accent1>
      <a:accent2>
        <a:srgbClr val="E0F5DF"/>
      </a:accent2>
      <a:accent3>
        <a:srgbClr val="F0EBF0"/>
      </a:accent3>
      <a:accent4>
        <a:srgbClr val="FAF0D7"/>
      </a:accent4>
      <a:accent5>
        <a:srgbClr val="5E5E5E"/>
      </a:accent5>
      <a:accent6>
        <a:srgbClr val="5E5E5E"/>
      </a:accent6>
      <a:hlink>
        <a:srgbClr val="000000"/>
      </a:hlink>
      <a:folHlink>
        <a:srgbClr val="000000"/>
      </a:folHlink>
    </a:clrScheme>
    <a:fontScheme name="HVA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lIns="36000" tIns="36000" rIns="36000" bIns="3600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VA CMD PowerPoint template.potx" id="{4E4842E2-503E-492A-B332-562488B17F5D}" vid="{E508DC7F-B8DF-4D25-B558-344DECB3EA6C}"/>
    </a:ext>
  </a:extLst>
</a:theme>
</file>

<file path=ppt/theme/theme2.xml><?xml version="1.0" encoding="utf-8"?>
<a:theme xmlns:a="http://schemas.openxmlformats.org/drawingml/2006/main" name="Custom Design">
  <a:themeElements>
    <a:clrScheme name="Custom Design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Custom Design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Custom Desig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239888" marR="0" indent="-239888" algn="l" defTabSz="457200" rtl="0" fontAlgn="auto" latinLnBrk="0" hangingPunct="0">
          <a:lnSpc>
            <a:spcPct val="100000"/>
          </a:lnSpc>
          <a:spcBef>
            <a:spcPts val="900"/>
          </a:spcBef>
          <a:spcAft>
            <a:spcPts val="0"/>
          </a:spcAft>
          <a:buClrTx/>
          <a:buSzPct val="100000"/>
          <a:buFont typeface="Arial"/>
          <a:buChar char="•"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Open Sans Regular"/>
            <a:ea typeface="Open Sans Regular"/>
            <a:cs typeface="Open Sans Regular"/>
            <a:sym typeface="Open Sans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4092ecb-c5f6-49f9-ae29-3395bb127487" xsi:nil="true"/>
    <lcf76f155ced4ddcb4097134ff3c332f xmlns="8fade010-efe2-44d6-a872-8966b8b1acf4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077C3EECBB124990F669D4E4129154" ma:contentTypeVersion="12" ma:contentTypeDescription="Een nieuw document maken." ma:contentTypeScope="" ma:versionID="a40bd5a99006e3fc55583e14a432941e">
  <xsd:schema xmlns:xsd="http://www.w3.org/2001/XMLSchema" xmlns:xs="http://www.w3.org/2001/XMLSchema" xmlns:p="http://schemas.microsoft.com/office/2006/metadata/properties" xmlns:ns2="8fade010-efe2-44d6-a872-8966b8b1acf4" xmlns:ns3="84092ecb-c5f6-49f9-ae29-3395bb127487" targetNamespace="http://schemas.microsoft.com/office/2006/metadata/properties" ma:root="true" ma:fieldsID="adc1620d6968e1ed43d23be5b8e0baa9" ns2:_="" ns3:_="">
    <xsd:import namespace="8fade010-efe2-44d6-a872-8966b8b1acf4"/>
    <xsd:import namespace="84092ecb-c5f6-49f9-ae29-3395bb1274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ade010-efe2-44d6-a872-8966b8b1ac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Afbeeldingtags" ma:readOnly="false" ma:fieldId="{5cf76f15-5ced-4ddc-b409-7134ff3c332f}" ma:taxonomyMulti="true" ma:sspId="32d39682-ccf7-48d8-962f-2ca2d3d56b7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092ecb-c5f6-49f9-ae29-3395bb127487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1a394576-0ea7-467e-8957-97cf10cbb990}" ma:internalName="TaxCatchAll" ma:showField="CatchAllData" ma:web="84092ecb-c5f6-49f9-ae29-3395bb12748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40BF78-014E-4721-B3A4-DD184D220F3A}">
  <ds:schemaRefs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ef9a9971-8f81-456e-9573-47180d38c8d8"/>
    <ds:schemaRef ds:uri="6b90f42b-64c4-4e1d-b8a2-9a34aba7b617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C892EB6-EF94-4C00-BAD0-3F1E68C1FD39}"/>
</file>

<file path=customXml/itemProps3.xml><?xml version="1.0" encoding="utf-8"?>
<ds:datastoreItem xmlns:ds="http://schemas.openxmlformats.org/officeDocument/2006/customXml" ds:itemID="{C9A70CD8-485F-4211-A2EC-B600496F41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983</TotalTime>
  <Words>1389</Words>
  <Application>Microsoft Macintosh PowerPoint</Application>
  <PresentationFormat>A4 Paper (210x297 mm)</PresentationFormat>
  <Paragraphs>260</Paragraphs>
  <Slides>11</Slides>
  <Notes>0</Notes>
  <HiddenSlides>1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Open Sans</vt:lpstr>
      <vt:lpstr>Open Sans Light</vt:lpstr>
      <vt:lpstr>Open Sans Regular</vt:lpstr>
      <vt:lpstr>Wingdings</vt:lpstr>
      <vt:lpstr>HvA CM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nip/plak deze iconen in je ontwerp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subject/>
  <dc:creator/>
  <cp:keywords/>
  <dc:description/>
  <cp:lastModifiedBy>Ruben Logjes</cp:lastModifiedBy>
  <cp:revision>42</cp:revision>
  <cp:lastPrinted>2026-05-31T21:28:33Z</cp:lastPrinted>
  <dcterms:modified xsi:type="dcterms:W3CDTF">2026-06-01T15:11:2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077C3EECBB124990F669D4E4129154</vt:lpwstr>
  </property>
  <property fmtid="{D5CDD505-2E9C-101B-9397-08002B2CF9AE}" pid="3" name="MediaServiceImageTags">
    <vt:lpwstr/>
  </property>
</Properties>
</file>